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2" r:id="rId6"/>
  </p:sldMasterIdLst>
  <p:notesMasterIdLst>
    <p:notesMasterId r:id="rId46"/>
  </p:notesMasterIdLst>
  <p:sldIdLst>
    <p:sldId id="261" r:id="rId7"/>
    <p:sldId id="2257" r:id="rId8"/>
    <p:sldId id="2324" r:id="rId9"/>
    <p:sldId id="2328" r:id="rId10"/>
    <p:sldId id="3372" r:id="rId11"/>
    <p:sldId id="3401" r:id="rId12"/>
    <p:sldId id="2329" r:id="rId13"/>
    <p:sldId id="256" r:id="rId14"/>
    <p:sldId id="257" r:id="rId15"/>
    <p:sldId id="258" r:id="rId16"/>
    <p:sldId id="260" r:id="rId17"/>
    <p:sldId id="2333" r:id="rId18"/>
    <p:sldId id="262" r:id="rId19"/>
    <p:sldId id="263" r:id="rId20"/>
    <p:sldId id="264" r:id="rId21"/>
    <p:sldId id="265" r:id="rId22"/>
    <p:sldId id="266" r:id="rId23"/>
    <p:sldId id="268" r:id="rId24"/>
    <p:sldId id="267" r:id="rId25"/>
    <p:sldId id="2330" r:id="rId26"/>
    <p:sldId id="3390" r:id="rId27"/>
    <p:sldId id="3380" r:id="rId28"/>
    <p:sldId id="3393" r:id="rId29"/>
    <p:sldId id="2358" r:id="rId30"/>
    <p:sldId id="3388" r:id="rId31"/>
    <p:sldId id="3392" r:id="rId32"/>
    <p:sldId id="2350" r:id="rId33"/>
    <p:sldId id="3394" r:id="rId34"/>
    <p:sldId id="3397" r:id="rId35"/>
    <p:sldId id="3399" r:id="rId36"/>
    <p:sldId id="3400" r:id="rId37"/>
    <p:sldId id="3396" r:id="rId38"/>
    <p:sldId id="3403" r:id="rId39"/>
    <p:sldId id="3398" r:id="rId40"/>
    <p:sldId id="3402" r:id="rId41"/>
    <p:sldId id="2331" r:id="rId42"/>
    <p:sldId id="2326" r:id="rId43"/>
    <p:sldId id="2327" r:id="rId44"/>
    <p:sldId id="2332" r:id="rId45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26" y="6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viewProps" Target="viewProps.xml"/><Relationship Id="rId8" Type="http://schemas.openxmlformats.org/officeDocument/2006/relationships/slide" Target="slides/slide2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Worksheet.xlsx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Ark1'!$A$2:$A$8</cx:f>
        <cx:lvl ptCount="7">
          <cx:pt idx="0">Budsjettramme og finansiering 2021</cx:pt>
          <cx:pt idx="1">Kostnader drift og forvaltning</cx:pt>
          <cx:pt idx="2">Effektivisering/avsluttede tiltak</cx:pt>
          <cx:pt idx="3">Økning som følge av 2020 investeringer</cx:pt>
          <cx:pt idx="4">Økt finansiering som følge av investeringer</cx:pt>
          <cx:pt idx="5">Forbedringsbehov</cx:pt>
          <cx:pt idx="6">Udekket behov</cx:pt>
        </cx:lvl>
      </cx:strDim>
      <cx:numDim type="val">
        <cx:f>'Ark1'!$B$2:$B$8</cx:f>
        <cx:lvl ptCount="7" formatCode="# ##0,0">
          <cx:pt idx="0">496.80000000000001</cx:pt>
          <cx:pt idx="1">-496.80000000000001</cx:pt>
          <cx:pt idx="2">36.199999999999996</cx:pt>
          <cx:pt idx="3">-44.700000000000003</cx:pt>
          <cx:pt idx="4">44.700000000000003</cx:pt>
          <cx:pt idx="5">-83.900000000000006</cx:pt>
          <cx:pt idx="6">-47.70000000000001</cx:pt>
        </cx:lvl>
      </cx:numDim>
    </cx:data>
  </cx:chartData>
  <cx:chart>
    <cx:plotArea>
      <cx:plotAreaRegion>
        <cx:series layoutId="waterfall" uniqueId="{5CE77F7A-679E-43DB-886F-52F5FC670565}">
          <cx:dataLabels pos="inEnd">
            <cx:visibility seriesName="0" categoryName="0" value="1"/>
          </cx:dataLabels>
          <cx:dataId val="0"/>
          <cx:layoutPr>
            <cx:visibility connectorLines="0"/>
            <cx:subtotals>
              <cx:idx val="0"/>
              <cx:idx val="6"/>
            </cx:subtotals>
          </cx:layoutPr>
        </cx:series>
      </cx:plotAreaRegion>
      <cx:axis id="0">
        <cx:catScaling gapWidth="0.5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800"/>
            </a:pPr>
            <a:endParaRPr lang="nb-NO" sz="800" b="0" i="0" u="none" strike="noStrike" baseline="0">
              <a:solidFill>
                <a:srgbClr val="2C3845">
                  <a:lumMod val="65000"/>
                  <a:lumOff val="35000"/>
                </a:srgbClr>
              </a:solidFill>
              <a:latin typeface="Arial" panose="020B0604020202020204"/>
            </a:endParaRPr>
          </a:p>
        </cx:txPr>
      </cx:axis>
      <cx:axis id="1">
        <cx:valScaling/>
        <cx:majorGridlines/>
        <cx:tickLabels/>
      </cx:axis>
    </cx:plotArea>
    <cx:legend pos="b" align="ctr" overlay="0">
      <cx:txPr>
        <a:bodyPr spcFirstLastPara="1" vertOverflow="ellipsis" horzOverflow="overflow" wrap="square" lIns="0" tIns="0" rIns="0" bIns="0" anchor="ctr" anchorCtr="1"/>
        <a:lstStyle/>
        <a:p>
          <a:pPr algn="ctr" rtl="0">
            <a:defRPr/>
          </a:pPr>
          <a:endParaRPr lang="nb-NO" sz="1197" b="0" i="0" u="none" strike="noStrike" baseline="0">
            <a:solidFill>
              <a:srgbClr val="2C3845">
                <a:lumMod val="65000"/>
                <a:lumOff val="35000"/>
              </a:srgbClr>
            </a:solidFill>
            <a:latin typeface="Arial" panose="020B0604020202020204"/>
          </a:endParaRPr>
        </a:p>
      </cx:txPr>
    </cx:legend>
  </cx:chart>
  <cx:fmtOvrs>
    <cx:fmtOvr idx="1">
      <cx:spPr>
        <a:solidFill>
          <a:schemeClr val="accent4">
            <a:lumMod val="20000"/>
            <a:lumOff val="80000"/>
          </a:schemeClr>
        </a:solidFill>
      </cx:spPr>
    </cx:fmtOvr>
  </cx:fmtOvrs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98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/>
  </cs:dataLabel>
  <cs:dataLabelCallout>
    <cs:lnRef idx="0"/>
    <cs:fillRef idx="0"/>
    <cs:effectRef idx="0"/>
    <cs:fontRef idx="minor">
      <a:schemeClr val="dk1">
        <a:lumMod val="50000"/>
        <a:lumOff val="50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ln w="9525" cap="flat" cmpd="sng" algn="ctr">
        <a:solidFill>
          <a:schemeClr val="phClr">
            <a:alpha val="50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dk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cap="none" spc="2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3D0A3A-1F6D-4F42-92F3-B1110B6E7752}" type="datetimeFigureOut">
              <a:rPr lang="nb-NO" smtClean="0"/>
              <a:t>06.09.2020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E44D18-4F59-4642-B3C6-B44F3B9ECB8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6149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5074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1FED3-AE14-464C-ABC4-74C908433D1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25549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1FED3-AE14-464C-ABC4-74C908433D1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1320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1FED3-AE14-464C-ABC4-74C908433D1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00208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1FED3-AE14-464C-ABC4-74C908433D1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24388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1FED3-AE14-464C-ABC4-74C908433D1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25778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1FED3-AE14-464C-ABC4-74C908433D1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08007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029">
              <a:defRPr/>
            </a:pPr>
            <a:fld id="{371F1791-49DA-4A11-A71B-4DEDB48C96EA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3029">
                <a:defRPr/>
              </a:pPr>
              <a:t>20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541649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Direktoratet for e-helse har på bakgrunn av disse formuleringene i mandatet utredet mulige kostnadsfordelingsprinsipper og vurdert disse etter forhåndsbestemte vurderingskriterier og opp mot hverandre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48F035-5595-421D-9370-63C81EDF1400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896971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5571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Kilde: utviklingstrekkrapporten 2020, tall for 2018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8894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029">
              <a:defRPr/>
            </a:pPr>
            <a:fld id="{371F1791-49DA-4A11-A71B-4DEDB48C96EA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3029">
                <a:defRPr/>
              </a:pPr>
              <a:t>2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4883060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4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 hvilken grad kostnadsfordelingen gir insentiver til: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tdypende tekst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. Fremme innføring av nasjonale e-helseløsninger til nye grupper og gevinstrealisering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ostnadsfordelingsprinsippene stimulerer innføring og riktig bruk av de nasjonale e-helseløsningene. Det vil si at det gis insentiver som bidrar til at løsningene implementeres og tas i bruk og at alternative løsninger/substitutt ikke lenger benyttes, og at modellene ikke stimulerer til verken over- eller underforbruk.  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. Forutsigbarhet i inntekter og kostnader for involverte aktører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ostnadsfordelingsprinsippene bør sørge for at det til enhver tid er klart hvordan prinsippene påvirker aktørenes budsjetter.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3. Rettferdig fordeling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insippene bør gi en «rimelig fordeling» av kostnadene. En kostnadsfordeling som reflekterer nytten vil være et godt prinsipielt utgangspunkt og vil kunne bidra til en oppfatning av rettferdig fordeling.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4. Enkel å administrere  (kostnadseffektiv)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insippene bør innebære en så enkel forvaltning som mulig, i betydningen at det ikke påfører aktører som berøres en betydelig ressursbruk (gir lave administrasjonskostnader).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48F035-5595-421D-9370-63C81EDF1400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3890764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4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 hvilken grad kostnadsfordelingen gir insentiver til: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tdypende tekst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. Fremme innføring av nasjonale e-helseløsninger til nye grupper og gevinstrealisering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ostnadsfordelingsprinsippene stimulerer innføring og riktig bruk av de nasjonale e-helseløsningene. Det vil si at det gis insentiver som bidrar til at løsningene implementeres og tas i bruk og at alternative løsninger/substitutt ikke lenger benyttes, og at modellene ikke stimulerer til verken over- eller underforbruk.  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. Forutsigbarhet i inntekter og kostnader for involverte aktører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ostnadsfordelingsprinsippene bør sørge for at det til enhver tid er klart hvordan prinsippene påvirker aktørenes budsjetter.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3. Rettferdig fordeling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insippene bør gi en «rimelig fordeling» av kostnadene. En kostnadsfordeling som reflekterer nytten vil være et godt prinsipielt utgangspunkt og vil kunne bidra til en oppfatning av rettferdig fordeling.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4. Enkel å administrere  (kostnadseffektiv)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insippene bør innebære en så enkel forvaltning som mulig, i betydningen at det ikke påfører aktører som berøres en betydelig ressursbruk (gir lave administrasjonskostnader).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48F035-5595-421D-9370-63C81EDF1400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90950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4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 hvilken grad kostnadsfordelingen gir insentiver til: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tdypende tekst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. Fremme innføring av nasjonale e-helseløsninger til nye grupper og gevinstrealisering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ostnadsfordelingsprinsippene stimulerer innføring og riktig bruk av de nasjonale e-helseløsningene. Det vil si at det gis insentiver som bidrar til at løsningene implementeres og tas i bruk og at alternative løsninger/substitutt ikke lenger benyttes, og at modellene ikke stimulerer til verken over- eller underforbruk.  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. Forutsigbarhet i inntekter og kostnader for involverte aktører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ostnadsfordelingsprinsippene bør sørge for at det til enhver tid er klart hvordan prinsippene påvirker aktørenes budsjetter.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3. Rettferdig fordeling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insippene bør gi en «rimelig fordeling» av kostnadene. En kostnadsfordeling som reflekterer nytten vil være et godt prinsipielt utgangspunkt og vil kunne bidra til en oppfatning av rettferdig fordeling.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4. Enkel å administrere  (kostnadseffektiv)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nb-NO" sz="12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rinsippene bør innebære en så enkel forvaltning som mulig, i betydningen at det ikke påfører aktører som berøres en betydelig ressursbruk (gir lave administrasjonskostnader).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48F035-5595-421D-9370-63C81EDF1400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18138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indent="-342900" algn="l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remme innføring av nasjonale e-helseløsninger til nye grupper og gevinstrealisering</a:t>
            </a:r>
          </a:p>
          <a:p>
            <a:pPr marL="0" marR="0" indent="0" algn="l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b-NO" sz="14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tas større insentiver til dette gitt at man allerede betaler for løsningen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2. Forutsigbarhet i inntekter og kostnader for involverte aktører </a:t>
            </a: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lir ikke mer forutsigbart enn 50/50 fra dag 1 og på ubestemt tid fremover. Organisatorisk klart til bruk åpner for diskusjon og kan dermed endre fremtidig fordeling.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3. Rettferdig fordeling </a:t>
            </a: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t subjektivt kriterium, men organisatorisk klart til bruk antas å oppleves mer rettferdig enn teknisk klart fra NHN.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1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4. Enkel å administrere  (kostnadseffektiv)</a:t>
            </a:r>
          </a:p>
          <a:p>
            <a:pPr marL="0" indent="0" algn="l" rtl="0" eaLnBrk="1" fontAlgn="t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nb-NO" sz="1400" b="0" i="0" u="none" strike="noStrike" kern="1200" dirty="0">
                <a:solidFill>
                  <a:srgbClr val="281C2C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lir ikke enklere å administrere enn 50/50, og organisatorisk klart til bruk kan diskuteres ned på en meget detaljert nivå, som kan gjøre det mindre enkelt å administrere. </a:t>
            </a:r>
            <a:endParaRPr lang="nb-NO" sz="1600" b="0" i="0" u="none" strike="noStrike" dirty="0">
              <a:effectLst/>
              <a:latin typeface="Arial" panose="020B0604020202020204" pitchFamily="34" charset="0"/>
            </a:endParaRP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48F035-5595-421D-9370-63C81EDF1400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566620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er har jeg mer detaljerte tall, brutt ned på løsninger og over flere år (mest aktuelt for fordeling C)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48F035-5595-421D-9370-63C81EDF1400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686951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va ligger i teknisk klart fra NHN (B)? </a:t>
            </a:r>
          </a:p>
          <a:p>
            <a:pPr lvl="1"/>
            <a:r>
              <a:rPr lang="nb-NO" dirty="0"/>
              <a:t>Behov for en omforent definisjon av teknisk klart fra NHN der man tar hensyn til skalerbare for eksempel </a:t>
            </a:r>
          </a:p>
          <a:p>
            <a:pPr marL="431978" lvl="1" indent="0">
              <a:buNone/>
            </a:pPr>
            <a:endParaRPr lang="nb-NO" dirty="0"/>
          </a:p>
          <a:p>
            <a:r>
              <a:rPr lang="nb-NO" dirty="0"/>
              <a:t>Behov for å få frem tydelig at Organisatorisk (C) klart fra NHN betyr 70/30 i 2022, men at det vil bevege seg mot 50/50 i 2024. </a:t>
            </a:r>
          </a:p>
          <a:p>
            <a:pPr lvl="1"/>
            <a:r>
              <a:rPr lang="nb-NO" dirty="0"/>
              <a:t>Prinsipp C kan sees på som en midlertid løsning på veien mot B som også vil være mer akseptable politisk</a:t>
            </a:r>
          </a:p>
          <a:p>
            <a:pPr lvl="1"/>
            <a:endParaRPr lang="nb-NO" dirty="0"/>
          </a:p>
          <a:p>
            <a:pPr lvl="1"/>
            <a:endParaRPr lang="nb-NO" dirty="0"/>
          </a:p>
          <a:p>
            <a:pPr lvl="1"/>
            <a:r>
              <a:rPr lang="nb-NO" dirty="0"/>
              <a:t>Rapporten danner et «grunnlag for uenighet» ;-)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48F035-5595-421D-9370-63C81EDF1400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13010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va ligger i teknisk klart fra NHN (B)? </a:t>
            </a:r>
          </a:p>
          <a:p>
            <a:pPr lvl="1"/>
            <a:r>
              <a:rPr lang="nb-NO" dirty="0"/>
              <a:t>Behov for en omforent definisjon av teknisk klart fra NHN der man tar hensyn til skalerbare for eksempel </a:t>
            </a:r>
          </a:p>
          <a:p>
            <a:pPr marL="431978" lvl="1" indent="0">
              <a:buNone/>
            </a:pPr>
            <a:endParaRPr lang="nb-NO" dirty="0"/>
          </a:p>
          <a:p>
            <a:r>
              <a:rPr lang="nb-NO" dirty="0"/>
              <a:t>Behov for å få frem tydelig at Organisatorisk (C) klart fra NHN betyr 70/30 i 2022, men at det vil bevege seg mot 50/50 i 2024. </a:t>
            </a:r>
          </a:p>
          <a:p>
            <a:pPr lvl="1"/>
            <a:r>
              <a:rPr lang="nb-NO" dirty="0"/>
              <a:t>Prinsipp C kan sees på som en midlertid løsning på veien mot B som også vil være mer akseptable politisk</a:t>
            </a:r>
          </a:p>
          <a:p>
            <a:pPr lvl="1"/>
            <a:endParaRPr lang="nb-NO" dirty="0"/>
          </a:p>
          <a:p>
            <a:pPr lvl="1"/>
            <a:endParaRPr lang="nb-NO" dirty="0"/>
          </a:p>
          <a:p>
            <a:pPr lvl="1"/>
            <a:r>
              <a:rPr lang="nb-NO" dirty="0"/>
              <a:t>Rapporten danner et «grunnlag for uenighet» ;-)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48F035-5595-421D-9370-63C81EDF1400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671832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029">
              <a:defRPr/>
            </a:pPr>
            <a:fld id="{371F1791-49DA-4A11-A71B-4DEDB48C96EA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3029">
                <a:defRPr/>
              </a:pPr>
              <a:t>36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4722453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029">
              <a:defRPr/>
            </a:pPr>
            <a:fld id="{371F1791-49DA-4A11-A71B-4DEDB48C96EA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3029">
                <a:defRPr/>
              </a:pPr>
              <a:t>39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829113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029">
              <a:defRPr/>
            </a:pPr>
            <a:fld id="{371F1791-49DA-4A11-A71B-4DEDB48C96EA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3029">
                <a:defRPr/>
              </a:pPr>
              <a:t>3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65622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029">
              <a:defRPr/>
            </a:pPr>
            <a:fld id="{371F1791-49DA-4A11-A71B-4DEDB48C96EA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3029">
                <a:defRPr/>
              </a:pPr>
              <a:t>4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73308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Det er gjort nedvalg</a:t>
            </a:r>
          </a:p>
          <a:p>
            <a:r>
              <a:rPr lang="nb-NO" dirty="0"/>
              <a:t>Runde 2 i full gang – følger planen (og vel så det)</a:t>
            </a:r>
          </a:p>
          <a:p>
            <a:r>
              <a:rPr lang="nb-NO" dirty="0"/>
              <a:t>Om justeringer i forhold til Corona situasjonen: Droppet demo/workshop, holder dialogen åpen helt fram til de skal levere justert tilbud. 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1FED3-AE14-464C-ABC4-74C908433D1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10545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029">
              <a:defRPr/>
            </a:pPr>
            <a:fld id="{371F1791-49DA-4A11-A71B-4DEDB48C96EA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913029">
                <a:defRPr/>
              </a:pPr>
              <a:t>7</a:t>
            </a:fld>
            <a:endParaRPr lang="en-GB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71532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1FED3-AE14-464C-ABC4-74C908433D1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92971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1FED3-AE14-464C-ABC4-74C908433D1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25267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1FED3-AE14-464C-ABC4-74C908433D1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4954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1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2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2" y="1188000"/>
            <a:ext cx="1144875" cy="44586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48956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349275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467941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afikk">
            <a:extLst>
              <a:ext uri="{FF2B5EF4-FFF2-40B4-BE49-F238E27FC236}">
                <a16:creationId xmlns:a16="http://schemas.microsoft.com/office/drawing/2014/main" id="{B954867B-1EB4-4E2F-87B0-AC1C5B92632C}"/>
              </a:ext>
            </a:extLst>
          </p:cNvPr>
          <p:cNvGrpSpPr/>
          <p:nvPr userDrawn="1"/>
        </p:nvGrpSpPr>
        <p:grpSpPr>
          <a:xfrm flipH="1">
            <a:off x="5087250" y="-2177955"/>
            <a:ext cx="9982640" cy="6849687"/>
            <a:chOff x="-3057683" y="-2177955"/>
            <a:chExt cx="9982640" cy="6849687"/>
          </a:xfrm>
        </p:grpSpPr>
        <p:grpSp>
          <p:nvGrpSpPr>
            <p:cNvPr id="8" name="Graphic 2">
              <a:extLst>
                <a:ext uri="{FF2B5EF4-FFF2-40B4-BE49-F238E27FC236}">
                  <a16:creationId xmlns:a16="http://schemas.microsoft.com/office/drawing/2014/main" id="{9305827D-5A20-4AD5-99CD-455EFF491A49}"/>
                </a:ext>
              </a:extLst>
            </p:cNvPr>
            <p:cNvGrpSpPr/>
            <p:nvPr userDrawn="1"/>
          </p:nvGrpSpPr>
          <p:grpSpPr>
            <a:xfrm>
              <a:off x="-3057683" y="-2177955"/>
              <a:ext cx="9950334" cy="6849687"/>
              <a:chOff x="-3057683" y="-2177955"/>
              <a:chExt cx="9950334" cy="6849687"/>
            </a:xfrm>
            <a:solidFill>
              <a:srgbClr val="54616C"/>
            </a:solidFill>
          </p:grpSpPr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6B48293C-4A70-4D2A-8785-48A8803E7DDA}"/>
                  </a:ext>
                </a:extLst>
              </p:cNvPr>
              <p:cNvSpPr/>
              <p:nvPr/>
            </p:nvSpPr>
            <p:spPr>
              <a:xfrm>
                <a:off x="-3057683" y="-997908"/>
                <a:ext cx="9950334" cy="5561215"/>
              </a:xfrm>
              <a:custGeom>
                <a:avLst/>
                <a:gdLst>
                  <a:gd name="connsiteX0" fmla="*/ 57318 w 9950334"/>
                  <a:gd name="connsiteY0" fmla="*/ 4737988 h 5561214"/>
                  <a:gd name="connsiteX1" fmla="*/ 73362 w 9950334"/>
                  <a:gd name="connsiteY1" fmla="*/ 4728761 h 5561214"/>
                  <a:gd name="connsiteX2" fmla="*/ 280265 w 9950334"/>
                  <a:gd name="connsiteY2" fmla="*/ 4909729 h 5561214"/>
                  <a:gd name="connsiteX3" fmla="*/ 277190 w 9950334"/>
                  <a:gd name="connsiteY3" fmla="*/ 4934667 h 5561214"/>
                  <a:gd name="connsiteX4" fmla="*/ 316135 w 9950334"/>
                  <a:gd name="connsiteY4" fmla="*/ 4955072 h 5561214"/>
                  <a:gd name="connsiteX5" fmla="*/ 316260 w 9950334"/>
                  <a:gd name="connsiteY5" fmla="*/ 4955033 h 5561214"/>
                  <a:gd name="connsiteX6" fmla="*/ 337789 w 9950334"/>
                  <a:gd name="connsiteY6" fmla="*/ 4921782 h 5561214"/>
                  <a:gd name="connsiteX7" fmla="*/ 601303 w 9950334"/>
                  <a:gd name="connsiteY7" fmla="*/ 4832005 h 5561214"/>
                  <a:gd name="connsiteX8" fmla="*/ 653756 w 9950334"/>
                  <a:gd name="connsiteY8" fmla="*/ 4854865 h 5561214"/>
                  <a:gd name="connsiteX9" fmla="*/ 670382 w 9950334"/>
                  <a:gd name="connsiteY9" fmla="*/ 4844973 h 5561214"/>
                  <a:gd name="connsiteX10" fmla="*/ 877618 w 9950334"/>
                  <a:gd name="connsiteY10" fmla="*/ 5026357 h 5561214"/>
                  <a:gd name="connsiteX11" fmla="*/ 873462 w 9950334"/>
                  <a:gd name="connsiteY11" fmla="*/ 5056200 h 5561214"/>
                  <a:gd name="connsiteX12" fmla="*/ 917750 w 9950334"/>
                  <a:gd name="connsiteY12" fmla="*/ 5079830 h 5561214"/>
                  <a:gd name="connsiteX13" fmla="*/ 918350 w 9950334"/>
                  <a:gd name="connsiteY13" fmla="*/ 5079641 h 5561214"/>
                  <a:gd name="connsiteX14" fmla="*/ 942125 w 9950334"/>
                  <a:gd name="connsiteY14" fmla="*/ 5038077 h 5561214"/>
                  <a:gd name="connsiteX15" fmla="*/ 1199819 w 9950334"/>
                  <a:gd name="connsiteY15" fmla="*/ 4950378 h 5561214"/>
                  <a:gd name="connsiteX16" fmla="*/ 1257857 w 9950334"/>
                  <a:gd name="connsiteY16" fmla="*/ 4971373 h 5561214"/>
                  <a:gd name="connsiteX17" fmla="*/ 1278852 w 9950334"/>
                  <a:gd name="connsiteY17" fmla="*/ 4913335 h 5561214"/>
                  <a:gd name="connsiteX18" fmla="*/ 1253104 w 9950334"/>
                  <a:gd name="connsiteY18" fmla="*/ 4890443 h 5561214"/>
                  <a:gd name="connsiteX19" fmla="*/ 1305225 w 9950334"/>
                  <a:gd name="connsiteY19" fmla="*/ 4622940 h 5561214"/>
                  <a:gd name="connsiteX20" fmla="*/ 1319938 w 9950334"/>
                  <a:gd name="connsiteY20" fmla="*/ 4621444 h 5561214"/>
                  <a:gd name="connsiteX21" fmla="*/ 1344876 w 9950334"/>
                  <a:gd name="connsiteY21" fmla="*/ 4578217 h 5561214"/>
                  <a:gd name="connsiteX22" fmla="*/ 1609554 w 9950334"/>
                  <a:gd name="connsiteY22" fmla="*/ 4488108 h 5561214"/>
                  <a:gd name="connsiteX23" fmla="*/ 1654359 w 9950334"/>
                  <a:gd name="connsiteY23" fmla="*/ 4508723 h 5561214"/>
                  <a:gd name="connsiteX24" fmla="*/ 1668491 w 9950334"/>
                  <a:gd name="connsiteY24" fmla="*/ 4500410 h 5561214"/>
                  <a:gd name="connsiteX25" fmla="*/ 1880382 w 9950334"/>
                  <a:gd name="connsiteY25" fmla="*/ 4685784 h 5561214"/>
                  <a:gd name="connsiteX26" fmla="*/ 1889535 w 9950334"/>
                  <a:gd name="connsiteY26" fmla="*/ 4728788 h 5561214"/>
                  <a:gd name="connsiteX27" fmla="*/ 1932539 w 9950334"/>
                  <a:gd name="connsiteY27" fmla="*/ 4719635 h 5561214"/>
                  <a:gd name="connsiteX28" fmla="*/ 1937241 w 9950334"/>
                  <a:gd name="connsiteY28" fmla="*/ 4698336 h 5561214"/>
                  <a:gd name="connsiteX29" fmla="*/ 2208735 w 9950334"/>
                  <a:gd name="connsiteY29" fmla="*/ 4606314 h 5561214"/>
                  <a:gd name="connsiteX30" fmla="*/ 2253208 w 9950334"/>
                  <a:gd name="connsiteY30" fmla="*/ 4626265 h 5561214"/>
                  <a:gd name="connsiteX31" fmla="*/ 2267257 w 9950334"/>
                  <a:gd name="connsiteY31" fmla="*/ 4617952 h 5561214"/>
                  <a:gd name="connsiteX32" fmla="*/ 2481559 w 9950334"/>
                  <a:gd name="connsiteY32" fmla="*/ 4806817 h 5561214"/>
                  <a:gd name="connsiteX33" fmla="*/ 2488787 w 9950334"/>
                  <a:gd name="connsiteY33" fmla="*/ 4849948 h 5561214"/>
                  <a:gd name="connsiteX34" fmla="*/ 2496272 w 9950334"/>
                  <a:gd name="connsiteY34" fmla="*/ 4853868 h 5561214"/>
                  <a:gd name="connsiteX35" fmla="*/ 2440743 w 9950334"/>
                  <a:gd name="connsiteY35" fmla="*/ 5129684 h 5561214"/>
                  <a:gd name="connsiteX36" fmla="*/ 2401411 w 9950334"/>
                  <a:gd name="connsiteY36" fmla="*/ 5163818 h 5561214"/>
                  <a:gd name="connsiteX37" fmla="*/ 2435545 w 9950334"/>
                  <a:gd name="connsiteY37" fmla="*/ 5203151 h 5561214"/>
                  <a:gd name="connsiteX38" fmla="*/ 2449056 w 9950334"/>
                  <a:gd name="connsiteY38" fmla="*/ 5201589 h 5561214"/>
                  <a:gd name="connsiteX39" fmla="*/ 2461941 w 9950334"/>
                  <a:gd name="connsiteY39" fmla="*/ 5194440 h 5561214"/>
                  <a:gd name="connsiteX40" fmla="*/ 2667182 w 9950334"/>
                  <a:gd name="connsiteY40" fmla="*/ 5375325 h 5561214"/>
                  <a:gd name="connsiteX41" fmla="*/ 2678678 w 9950334"/>
                  <a:gd name="connsiteY41" fmla="*/ 5435963 h 5561214"/>
                  <a:gd name="connsiteX42" fmla="*/ 2739317 w 9950334"/>
                  <a:gd name="connsiteY42" fmla="*/ 5424468 h 5561214"/>
                  <a:gd name="connsiteX43" fmla="*/ 2745820 w 9950334"/>
                  <a:gd name="connsiteY43" fmla="*/ 5390288 h 5561214"/>
                  <a:gd name="connsiteX44" fmla="*/ 3002517 w 9950334"/>
                  <a:gd name="connsiteY44" fmla="*/ 5303918 h 5561214"/>
                  <a:gd name="connsiteX45" fmla="*/ 3049744 w 9950334"/>
                  <a:gd name="connsiteY45" fmla="*/ 5324728 h 5561214"/>
                  <a:gd name="connsiteX46" fmla="*/ 3061704 w 9950334"/>
                  <a:gd name="connsiteY46" fmla="*/ 5317135 h 5561214"/>
                  <a:gd name="connsiteX47" fmla="*/ 3264867 w 9950334"/>
                  <a:gd name="connsiteY47" fmla="*/ 5495776 h 5561214"/>
                  <a:gd name="connsiteX48" fmla="*/ 3277231 w 9950334"/>
                  <a:gd name="connsiteY48" fmla="*/ 5556244 h 5561214"/>
                  <a:gd name="connsiteX49" fmla="*/ 3337699 w 9950334"/>
                  <a:gd name="connsiteY49" fmla="*/ 5543880 h 5561214"/>
                  <a:gd name="connsiteX50" fmla="*/ 3344087 w 9950334"/>
                  <a:gd name="connsiteY50" fmla="*/ 5511321 h 5561214"/>
                  <a:gd name="connsiteX51" fmla="*/ 3608183 w 9950334"/>
                  <a:gd name="connsiteY51" fmla="*/ 5422458 h 5561214"/>
                  <a:gd name="connsiteX52" fmla="*/ 3649563 w 9950334"/>
                  <a:gd name="connsiteY52" fmla="*/ 5437318 h 5561214"/>
                  <a:gd name="connsiteX53" fmla="*/ 3665873 w 9950334"/>
                  <a:gd name="connsiteY53" fmla="*/ 5399598 h 5561214"/>
                  <a:gd name="connsiteX54" fmla="*/ 3644925 w 9950334"/>
                  <a:gd name="connsiteY54" fmla="*/ 5379398 h 5561214"/>
                  <a:gd name="connsiteX55" fmla="*/ 3699623 w 9950334"/>
                  <a:gd name="connsiteY55" fmla="*/ 5108237 h 5561214"/>
                  <a:gd name="connsiteX56" fmla="*/ 3719573 w 9950334"/>
                  <a:gd name="connsiteY56" fmla="*/ 5106907 h 5561214"/>
                  <a:gd name="connsiteX57" fmla="*/ 3748418 w 9950334"/>
                  <a:gd name="connsiteY57" fmla="*/ 5053124 h 5561214"/>
                  <a:gd name="connsiteX58" fmla="*/ 4005115 w 9950334"/>
                  <a:gd name="connsiteY58" fmla="*/ 4966671 h 5561214"/>
                  <a:gd name="connsiteX59" fmla="*/ 4050170 w 9950334"/>
                  <a:gd name="connsiteY59" fmla="*/ 4987868 h 5561214"/>
                  <a:gd name="connsiteX60" fmla="*/ 4063554 w 9950334"/>
                  <a:gd name="connsiteY60" fmla="*/ 4980221 h 5561214"/>
                  <a:gd name="connsiteX61" fmla="*/ 4270042 w 9950334"/>
                  <a:gd name="connsiteY61" fmla="*/ 5162353 h 5561214"/>
                  <a:gd name="connsiteX62" fmla="*/ 4266052 w 9950334"/>
                  <a:gd name="connsiteY62" fmla="*/ 5192860 h 5561214"/>
                  <a:gd name="connsiteX63" fmla="*/ 4312198 w 9950334"/>
                  <a:gd name="connsiteY63" fmla="*/ 5217001 h 5561214"/>
                  <a:gd name="connsiteX64" fmla="*/ 4337708 w 9950334"/>
                  <a:gd name="connsiteY64" fmla="*/ 5177066 h 5561214"/>
                  <a:gd name="connsiteX65" fmla="*/ 4608370 w 9950334"/>
                  <a:gd name="connsiteY65" fmla="*/ 5086042 h 5561214"/>
                  <a:gd name="connsiteX66" fmla="*/ 4644530 w 9950334"/>
                  <a:gd name="connsiteY66" fmla="*/ 5099924 h 5561214"/>
                  <a:gd name="connsiteX67" fmla="*/ 4654423 w 9950334"/>
                  <a:gd name="connsiteY67" fmla="*/ 5094604 h 5561214"/>
                  <a:gd name="connsiteX68" fmla="*/ 4869390 w 9950334"/>
                  <a:gd name="connsiteY68" fmla="*/ 5284134 h 5561214"/>
                  <a:gd name="connsiteX69" fmla="*/ 4880108 w 9950334"/>
                  <a:gd name="connsiteY69" fmla="*/ 5334978 h 5561214"/>
                  <a:gd name="connsiteX70" fmla="*/ 4911452 w 9950334"/>
                  <a:gd name="connsiteY70" fmla="*/ 5339164 h 5561214"/>
                  <a:gd name="connsiteX71" fmla="*/ 4936390 w 9950334"/>
                  <a:gd name="connsiteY71" fmla="*/ 5297600 h 5561214"/>
                  <a:gd name="connsiteX72" fmla="*/ 5205058 w 9950334"/>
                  <a:gd name="connsiteY72" fmla="*/ 5207158 h 5561214"/>
                  <a:gd name="connsiteX73" fmla="*/ 5248275 w 9950334"/>
                  <a:gd name="connsiteY73" fmla="*/ 5223491 h 5561214"/>
                  <a:gd name="connsiteX74" fmla="*/ 5264608 w 9950334"/>
                  <a:gd name="connsiteY74" fmla="*/ 5180274 h 5561214"/>
                  <a:gd name="connsiteX75" fmla="*/ 5244792 w 9950334"/>
                  <a:gd name="connsiteY75" fmla="*/ 5162602 h 5561214"/>
                  <a:gd name="connsiteX76" fmla="*/ 5300072 w 9950334"/>
                  <a:gd name="connsiteY76" fmla="*/ 4888282 h 5561214"/>
                  <a:gd name="connsiteX77" fmla="*/ 5313788 w 9950334"/>
                  <a:gd name="connsiteY77" fmla="*/ 4886619 h 5561214"/>
                  <a:gd name="connsiteX78" fmla="*/ 5340977 w 9950334"/>
                  <a:gd name="connsiteY78" fmla="*/ 4838924 h 5561214"/>
                  <a:gd name="connsiteX79" fmla="*/ 5293282 w 9950334"/>
                  <a:gd name="connsiteY79" fmla="*/ 4811735 h 5561214"/>
                  <a:gd name="connsiteX80" fmla="*/ 5290429 w 9950334"/>
                  <a:gd name="connsiteY80" fmla="*/ 4812636 h 5561214"/>
                  <a:gd name="connsiteX81" fmla="*/ 5278542 w 9950334"/>
                  <a:gd name="connsiteY81" fmla="*/ 4819037 h 5561214"/>
                  <a:gd name="connsiteX82" fmla="*/ 5064323 w 9950334"/>
                  <a:gd name="connsiteY82" fmla="*/ 4630172 h 5561214"/>
                  <a:gd name="connsiteX83" fmla="*/ 5056576 w 9950334"/>
                  <a:gd name="connsiteY83" fmla="*/ 4586892 h 5561214"/>
                  <a:gd name="connsiteX84" fmla="*/ 5013296 w 9950334"/>
                  <a:gd name="connsiteY84" fmla="*/ 4594640 h 5561214"/>
                  <a:gd name="connsiteX85" fmla="*/ 5008628 w 9950334"/>
                  <a:gd name="connsiteY85" fmla="*/ 4619864 h 5561214"/>
                  <a:gd name="connsiteX86" fmla="*/ 4745946 w 9950334"/>
                  <a:gd name="connsiteY86" fmla="*/ 4708312 h 5561214"/>
                  <a:gd name="connsiteX87" fmla="*/ 4689974 w 9950334"/>
                  <a:gd name="connsiteY87" fmla="*/ 4683440 h 5561214"/>
                  <a:gd name="connsiteX88" fmla="*/ 4674789 w 9950334"/>
                  <a:gd name="connsiteY88" fmla="*/ 4693349 h 5561214"/>
                  <a:gd name="connsiteX89" fmla="*/ 4467802 w 9950334"/>
                  <a:gd name="connsiteY89" fmla="*/ 4510468 h 5561214"/>
                  <a:gd name="connsiteX90" fmla="*/ 4456478 w 9950334"/>
                  <a:gd name="connsiteY90" fmla="*/ 4467984 h 5561214"/>
                  <a:gd name="connsiteX91" fmla="*/ 4413994 w 9950334"/>
                  <a:gd name="connsiteY91" fmla="*/ 4479308 h 5561214"/>
                  <a:gd name="connsiteX92" fmla="*/ 4410028 w 9950334"/>
                  <a:gd name="connsiteY92" fmla="*/ 4498581 h 5561214"/>
                  <a:gd name="connsiteX93" fmla="*/ 4132466 w 9950334"/>
                  <a:gd name="connsiteY93" fmla="*/ 4592017 h 5561214"/>
                  <a:gd name="connsiteX94" fmla="*/ 4090922 w 9950334"/>
                  <a:gd name="connsiteY94" fmla="*/ 4579947 h 5561214"/>
                  <a:gd name="connsiteX95" fmla="*/ 4087744 w 9950334"/>
                  <a:gd name="connsiteY95" fmla="*/ 4581959 h 5561214"/>
                  <a:gd name="connsiteX96" fmla="*/ 3869369 w 9950334"/>
                  <a:gd name="connsiteY96" fmla="*/ 4389518 h 5561214"/>
                  <a:gd name="connsiteX97" fmla="*/ 3862037 w 9950334"/>
                  <a:gd name="connsiteY97" fmla="*/ 4346524 h 5561214"/>
                  <a:gd name="connsiteX98" fmla="*/ 3853824 w 9950334"/>
                  <a:gd name="connsiteY98" fmla="*/ 4342385 h 5561214"/>
                  <a:gd name="connsiteX99" fmla="*/ 3910350 w 9950334"/>
                  <a:gd name="connsiteY99" fmla="*/ 4062163 h 5561214"/>
                  <a:gd name="connsiteX100" fmla="*/ 3922237 w 9950334"/>
                  <a:gd name="connsiteY100" fmla="*/ 4060750 h 5561214"/>
                  <a:gd name="connsiteX101" fmla="*/ 3944100 w 9950334"/>
                  <a:gd name="connsiteY101" fmla="*/ 4020184 h 5561214"/>
                  <a:gd name="connsiteX102" fmla="*/ 4219417 w 9950334"/>
                  <a:gd name="connsiteY102" fmla="*/ 3927497 h 5561214"/>
                  <a:gd name="connsiteX103" fmla="*/ 4261543 w 9950334"/>
                  <a:gd name="connsiteY103" fmla="*/ 3940493 h 5561214"/>
                  <a:gd name="connsiteX104" fmla="*/ 4274539 w 9950334"/>
                  <a:gd name="connsiteY104" fmla="*/ 3898368 h 5561214"/>
                  <a:gd name="connsiteX105" fmla="*/ 4257074 w 9950334"/>
                  <a:gd name="connsiteY105" fmla="*/ 3883440 h 5561214"/>
                  <a:gd name="connsiteX106" fmla="*/ 4311689 w 9950334"/>
                  <a:gd name="connsiteY106" fmla="*/ 3612694 h 5561214"/>
                  <a:gd name="connsiteX107" fmla="*/ 4327483 w 9950334"/>
                  <a:gd name="connsiteY107" fmla="*/ 3610865 h 5561214"/>
                  <a:gd name="connsiteX108" fmla="*/ 4356661 w 9950334"/>
                  <a:gd name="connsiteY108" fmla="*/ 3558911 h 5561214"/>
                  <a:gd name="connsiteX109" fmla="*/ 4616849 w 9950334"/>
                  <a:gd name="connsiteY109" fmla="*/ 3471377 h 5561214"/>
                  <a:gd name="connsiteX110" fmla="*/ 4666988 w 9950334"/>
                  <a:gd name="connsiteY110" fmla="*/ 3492862 h 5561214"/>
                  <a:gd name="connsiteX111" fmla="*/ 4678696 w 9950334"/>
                  <a:gd name="connsiteY111" fmla="*/ 3485509 h 5561214"/>
                  <a:gd name="connsiteX112" fmla="*/ 4888426 w 9950334"/>
                  <a:gd name="connsiteY112" fmla="*/ 3670384 h 5561214"/>
                  <a:gd name="connsiteX113" fmla="*/ 4896677 w 9950334"/>
                  <a:gd name="connsiteY113" fmla="*/ 3713450 h 5561214"/>
                  <a:gd name="connsiteX114" fmla="*/ 4905550 w 9950334"/>
                  <a:gd name="connsiteY114" fmla="*/ 3717600 h 5561214"/>
                  <a:gd name="connsiteX115" fmla="*/ 4848109 w 9950334"/>
                  <a:gd name="connsiteY115" fmla="*/ 4002312 h 5561214"/>
                  <a:gd name="connsiteX116" fmla="*/ 4838549 w 9950334"/>
                  <a:gd name="connsiteY116" fmla="*/ 4003641 h 5561214"/>
                  <a:gd name="connsiteX117" fmla="*/ 4817489 w 9950334"/>
                  <a:gd name="connsiteY117" fmla="*/ 4042370 h 5561214"/>
                  <a:gd name="connsiteX118" fmla="*/ 4856218 w 9950334"/>
                  <a:gd name="connsiteY118" fmla="*/ 4063431 h 5561214"/>
                  <a:gd name="connsiteX119" fmla="*/ 4857336 w 9950334"/>
                  <a:gd name="connsiteY119" fmla="*/ 4063077 h 5561214"/>
                  <a:gd name="connsiteX120" fmla="*/ 4866480 w 9950334"/>
                  <a:gd name="connsiteY120" fmla="*/ 4058339 h 5561214"/>
                  <a:gd name="connsiteX121" fmla="*/ 5073883 w 9950334"/>
                  <a:gd name="connsiteY121" fmla="*/ 4241219 h 5561214"/>
                  <a:gd name="connsiteX122" fmla="*/ 5085587 w 9950334"/>
                  <a:gd name="connsiteY122" fmla="*/ 4301938 h 5561214"/>
                  <a:gd name="connsiteX123" fmla="*/ 5146306 w 9950334"/>
                  <a:gd name="connsiteY123" fmla="*/ 4290234 h 5561214"/>
                  <a:gd name="connsiteX124" fmla="*/ 5153103 w 9950334"/>
                  <a:gd name="connsiteY124" fmla="*/ 4257845 h 5561214"/>
                  <a:gd name="connsiteX125" fmla="*/ 5416284 w 9950334"/>
                  <a:gd name="connsiteY125" fmla="*/ 4169231 h 5561214"/>
                  <a:gd name="connsiteX126" fmla="*/ 5457886 w 9950334"/>
                  <a:gd name="connsiteY126" fmla="*/ 4183458 h 5561214"/>
                  <a:gd name="connsiteX127" fmla="*/ 5472113 w 9950334"/>
                  <a:gd name="connsiteY127" fmla="*/ 4141856 h 5561214"/>
                  <a:gd name="connsiteX128" fmla="*/ 5454855 w 9950334"/>
                  <a:gd name="connsiteY128" fmla="*/ 4126337 h 5561214"/>
                  <a:gd name="connsiteX129" fmla="*/ 5510966 w 9950334"/>
                  <a:gd name="connsiteY129" fmla="*/ 3848193 h 5561214"/>
                  <a:gd name="connsiteX130" fmla="*/ 5526095 w 9950334"/>
                  <a:gd name="connsiteY130" fmla="*/ 3846531 h 5561214"/>
                  <a:gd name="connsiteX131" fmla="*/ 5549531 w 9950334"/>
                  <a:gd name="connsiteY131" fmla="*/ 3796884 h 5561214"/>
                  <a:gd name="connsiteX132" fmla="*/ 5502736 w 9950334"/>
                  <a:gd name="connsiteY132" fmla="*/ 3772547 h 5561214"/>
                  <a:gd name="connsiteX133" fmla="*/ 5488439 w 9950334"/>
                  <a:gd name="connsiteY133" fmla="*/ 3780860 h 5561214"/>
                  <a:gd name="connsiteX134" fmla="*/ 5285192 w 9950334"/>
                  <a:gd name="connsiteY134" fmla="*/ 3601721 h 5561214"/>
                  <a:gd name="connsiteX135" fmla="*/ 5278016 w 9950334"/>
                  <a:gd name="connsiteY135" fmla="*/ 3540303 h 5561214"/>
                  <a:gd name="connsiteX136" fmla="*/ 5262914 w 9950334"/>
                  <a:gd name="connsiteY136" fmla="*/ 3532559 h 5561214"/>
                  <a:gd name="connsiteX137" fmla="*/ 5317529 w 9950334"/>
                  <a:gd name="connsiteY137" fmla="*/ 3261814 h 5561214"/>
                  <a:gd name="connsiteX138" fmla="*/ 5329915 w 9950334"/>
                  <a:gd name="connsiteY138" fmla="*/ 3260484 h 5561214"/>
                  <a:gd name="connsiteX139" fmla="*/ 5350863 w 9950334"/>
                  <a:gd name="connsiteY139" fmla="*/ 3224241 h 5561214"/>
                  <a:gd name="connsiteX140" fmla="*/ 5619530 w 9950334"/>
                  <a:gd name="connsiteY140" fmla="*/ 3133798 h 5561214"/>
                  <a:gd name="connsiteX141" fmla="*/ 5670799 w 9950334"/>
                  <a:gd name="connsiteY141" fmla="*/ 3152426 h 5561214"/>
                  <a:gd name="connsiteX142" fmla="*/ 5679382 w 9950334"/>
                  <a:gd name="connsiteY142" fmla="*/ 3146931 h 5561214"/>
                  <a:gd name="connsiteX143" fmla="*/ 5885870 w 9950334"/>
                  <a:gd name="connsiteY143" fmla="*/ 3328981 h 5561214"/>
                  <a:gd name="connsiteX144" fmla="*/ 5881963 w 9950334"/>
                  <a:gd name="connsiteY144" fmla="*/ 3360569 h 5561214"/>
                  <a:gd name="connsiteX145" fmla="*/ 5931683 w 9950334"/>
                  <a:gd name="connsiteY145" fmla="*/ 3383571 h 5561214"/>
                  <a:gd name="connsiteX146" fmla="*/ 5956778 w 9950334"/>
                  <a:gd name="connsiteY146" fmla="*/ 3342531 h 5561214"/>
                  <a:gd name="connsiteX147" fmla="*/ 6212228 w 9950334"/>
                  <a:gd name="connsiteY147" fmla="*/ 3256577 h 5561214"/>
                  <a:gd name="connsiteX148" fmla="*/ 6269746 w 9950334"/>
                  <a:gd name="connsiteY148" fmla="*/ 3278301 h 5561214"/>
                  <a:gd name="connsiteX149" fmla="*/ 6280974 w 9950334"/>
                  <a:gd name="connsiteY149" fmla="*/ 3270958 h 5561214"/>
                  <a:gd name="connsiteX150" fmla="*/ 6490288 w 9950334"/>
                  <a:gd name="connsiteY150" fmla="*/ 3455500 h 5561214"/>
                  <a:gd name="connsiteX151" fmla="*/ 6500440 w 9950334"/>
                  <a:gd name="connsiteY151" fmla="*/ 3498038 h 5561214"/>
                  <a:gd name="connsiteX152" fmla="*/ 6505750 w 9950334"/>
                  <a:gd name="connsiteY152" fmla="*/ 3500638 h 5561214"/>
                  <a:gd name="connsiteX153" fmla="*/ 6450387 w 9950334"/>
                  <a:gd name="connsiteY153" fmla="*/ 3774958 h 5561214"/>
                  <a:gd name="connsiteX154" fmla="*/ 6404404 w 9950334"/>
                  <a:gd name="connsiteY154" fmla="*/ 3816302 h 5561214"/>
                  <a:gd name="connsiteX155" fmla="*/ 6445748 w 9950334"/>
                  <a:gd name="connsiteY155" fmla="*/ 3862285 h 5561214"/>
                  <a:gd name="connsiteX156" fmla="*/ 6461194 w 9950334"/>
                  <a:gd name="connsiteY156" fmla="*/ 3860330 h 5561214"/>
                  <a:gd name="connsiteX157" fmla="*/ 6477237 w 9950334"/>
                  <a:gd name="connsiteY157" fmla="*/ 3851103 h 5561214"/>
                  <a:gd name="connsiteX158" fmla="*/ 6679070 w 9950334"/>
                  <a:gd name="connsiteY158" fmla="*/ 4029328 h 5561214"/>
                  <a:gd name="connsiteX159" fmla="*/ 6674914 w 9950334"/>
                  <a:gd name="connsiteY159" fmla="*/ 4061332 h 5561214"/>
                  <a:gd name="connsiteX160" fmla="*/ 6723714 w 9950334"/>
                  <a:gd name="connsiteY160" fmla="*/ 4085967 h 5561214"/>
                  <a:gd name="connsiteX161" fmla="*/ 6749729 w 9950334"/>
                  <a:gd name="connsiteY161" fmla="*/ 4042711 h 5561214"/>
                  <a:gd name="connsiteX162" fmla="*/ 7009834 w 9950334"/>
                  <a:gd name="connsiteY162" fmla="*/ 3955178 h 5561214"/>
                  <a:gd name="connsiteX163" fmla="*/ 7061296 w 9950334"/>
                  <a:gd name="connsiteY163" fmla="*/ 3973616 h 5561214"/>
                  <a:gd name="connsiteX164" fmla="*/ 7070267 w 9950334"/>
                  <a:gd name="connsiteY164" fmla="*/ 3967730 h 5561214"/>
                  <a:gd name="connsiteX165" fmla="*/ 7284819 w 9950334"/>
                  <a:gd name="connsiteY165" fmla="*/ 4156845 h 5561214"/>
                  <a:gd name="connsiteX166" fmla="*/ 7296913 w 9950334"/>
                  <a:gd name="connsiteY166" fmla="*/ 4198137 h 5561214"/>
                  <a:gd name="connsiteX167" fmla="*/ 7338206 w 9950334"/>
                  <a:gd name="connsiteY167" fmla="*/ 4186043 h 5561214"/>
                  <a:gd name="connsiteX168" fmla="*/ 7341428 w 9950334"/>
                  <a:gd name="connsiteY168" fmla="*/ 4165906 h 5561214"/>
                  <a:gd name="connsiteX169" fmla="*/ 7607436 w 9950334"/>
                  <a:gd name="connsiteY169" fmla="*/ 4076295 h 5561214"/>
                  <a:gd name="connsiteX170" fmla="*/ 7660058 w 9950334"/>
                  <a:gd name="connsiteY170" fmla="*/ 4091943 h 5561214"/>
                  <a:gd name="connsiteX171" fmla="*/ 7675707 w 9950334"/>
                  <a:gd name="connsiteY171" fmla="*/ 4039321 h 5561214"/>
                  <a:gd name="connsiteX172" fmla="*/ 7654901 w 9950334"/>
                  <a:gd name="connsiteY172" fmla="*/ 4021348 h 5561214"/>
                  <a:gd name="connsiteX173" fmla="*/ 7710929 w 9950334"/>
                  <a:gd name="connsiteY173" fmla="*/ 3743204 h 5561214"/>
                  <a:gd name="connsiteX174" fmla="*/ 7723814 w 9950334"/>
                  <a:gd name="connsiteY174" fmla="*/ 3741956 h 5561214"/>
                  <a:gd name="connsiteX175" fmla="*/ 7745094 w 9950334"/>
                  <a:gd name="connsiteY175" fmla="*/ 3707542 h 5561214"/>
                  <a:gd name="connsiteX176" fmla="*/ 8006197 w 9950334"/>
                  <a:gd name="connsiteY176" fmla="*/ 3619677 h 5561214"/>
                  <a:gd name="connsiteX177" fmla="*/ 8058734 w 9950334"/>
                  <a:gd name="connsiteY177" fmla="*/ 3642620 h 5561214"/>
                  <a:gd name="connsiteX178" fmla="*/ 8075359 w 9950334"/>
                  <a:gd name="connsiteY178" fmla="*/ 3633226 h 5561214"/>
                  <a:gd name="connsiteX179" fmla="*/ 8284175 w 9950334"/>
                  <a:gd name="connsiteY179" fmla="*/ 3817353 h 5561214"/>
                  <a:gd name="connsiteX180" fmla="*/ 8292067 w 9950334"/>
                  <a:gd name="connsiteY180" fmla="*/ 3860607 h 5561214"/>
                  <a:gd name="connsiteX181" fmla="*/ 8335320 w 9950334"/>
                  <a:gd name="connsiteY181" fmla="*/ 3852715 h 5561214"/>
                  <a:gd name="connsiteX182" fmla="*/ 8340452 w 9950334"/>
                  <a:gd name="connsiteY182" fmla="*/ 3830155 h 5561214"/>
                  <a:gd name="connsiteX183" fmla="*/ 8609784 w 9950334"/>
                  <a:gd name="connsiteY183" fmla="*/ 3739463 h 5561214"/>
                  <a:gd name="connsiteX184" fmla="*/ 8662082 w 9950334"/>
                  <a:gd name="connsiteY184" fmla="*/ 3755776 h 5561214"/>
                  <a:gd name="connsiteX185" fmla="*/ 8678395 w 9950334"/>
                  <a:gd name="connsiteY185" fmla="*/ 3703478 h 5561214"/>
                  <a:gd name="connsiteX186" fmla="*/ 8657416 w 9950334"/>
                  <a:gd name="connsiteY186" fmla="*/ 3685098 h 5561214"/>
                  <a:gd name="connsiteX187" fmla="*/ 8710618 w 9950334"/>
                  <a:gd name="connsiteY187" fmla="*/ 3421085 h 5561214"/>
                  <a:gd name="connsiteX188" fmla="*/ 8730152 w 9950334"/>
                  <a:gd name="connsiteY188" fmla="*/ 3419672 h 5561214"/>
                  <a:gd name="connsiteX189" fmla="*/ 8759129 w 9950334"/>
                  <a:gd name="connsiteY189" fmla="*/ 3364913 h 5561214"/>
                  <a:gd name="connsiteX190" fmla="*/ 8704369 w 9950334"/>
                  <a:gd name="connsiteY190" fmla="*/ 3335936 h 5561214"/>
                  <a:gd name="connsiteX191" fmla="*/ 8686594 w 9950334"/>
                  <a:gd name="connsiteY191" fmla="*/ 3346520 h 5561214"/>
                  <a:gd name="connsiteX192" fmla="*/ 8476199 w 9950334"/>
                  <a:gd name="connsiteY192" fmla="*/ 3160980 h 5561214"/>
                  <a:gd name="connsiteX193" fmla="*/ 8479856 w 9950334"/>
                  <a:gd name="connsiteY193" fmla="*/ 3134795 h 5561214"/>
                  <a:gd name="connsiteX194" fmla="*/ 8440867 w 9950334"/>
                  <a:gd name="connsiteY194" fmla="*/ 3114474 h 5561214"/>
                  <a:gd name="connsiteX195" fmla="*/ 8419672 w 9950334"/>
                  <a:gd name="connsiteY195" fmla="*/ 3150007 h 5561214"/>
                  <a:gd name="connsiteX196" fmla="*/ 8143108 w 9950334"/>
                  <a:gd name="connsiteY196" fmla="*/ 3243027 h 5561214"/>
                  <a:gd name="connsiteX197" fmla="*/ 8105451 w 9950334"/>
                  <a:gd name="connsiteY197" fmla="*/ 3226401 h 5561214"/>
                  <a:gd name="connsiteX198" fmla="*/ 8094977 w 9950334"/>
                  <a:gd name="connsiteY198" fmla="*/ 3232220 h 5561214"/>
                  <a:gd name="connsiteX199" fmla="*/ 7883169 w 9950334"/>
                  <a:gd name="connsiteY199" fmla="*/ 3045184 h 5561214"/>
                  <a:gd name="connsiteX200" fmla="*/ 7887990 w 9950334"/>
                  <a:gd name="connsiteY200" fmla="*/ 3011933 h 5561214"/>
                  <a:gd name="connsiteX201" fmla="*/ 7839960 w 9950334"/>
                  <a:gd name="connsiteY201" fmla="*/ 2985829 h 5561214"/>
                  <a:gd name="connsiteX202" fmla="*/ 7813176 w 9950334"/>
                  <a:gd name="connsiteY202" fmla="*/ 3031219 h 5561214"/>
                  <a:gd name="connsiteX203" fmla="*/ 7563794 w 9950334"/>
                  <a:gd name="connsiteY203" fmla="*/ 3115260 h 5561214"/>
                  <a:gd name="connsiteX204" fmla="*/ 7498352 w 9950334"/>
                  <a:gd name="connsiteY204" fmla="*/ 3088941 h 5561214"/>
                  <a:gd name="connsiteX205" fmla="*/ 7472033 w 9950334"/>
                  <a:gd name="connsiteY205" fmla="*/ 3154382 h 5561214"/>
                  <a:gd name="connsiteX206" fmla="*/ 7503859 w 9950334"/>
                  <a:gd name="connsiteY206" fmla="*/ 3182676 h 5561214"/>
                  <a:gd name="connsiteX207" fmla="*/ 7450990 w 9950334"/>
                  <a:gd name="connsiteY207" fmla="*/ 3442532 h 5561214"/>
                  <a:gd name="connsiteX208" fmla="*/ 7409533 w 9950334"/>
                  <a:gd name="connsiteY208" fmla="*/ 3477983 h 5561214"/>
                  <a:gd name="connsiteX209" fmla="*/ 7410258 w 9950334"/>
                  <a:gd name="connsiteY209" fmla="*/ 3489000 h 5561214"/>
                  <a:gd name="connsiteX210" fmla="*/ 7141009 w 9950334"/>
                  <a:gd name="connsiteY210" fmla="*/ 3579609 h 5561214"/>
                  <a:gd name="connsiteX211" fmla="*/ 7104433 w 9950334"/>
                  <a:gd name="connsiteY211" fmla="*/ 3565062 h 5561214"/>
                  <a:gd name="connsiteX212" fmla="*/ 7095122 w 9950334"/>
                  <a:gd name="connsiteY212" fmla="*/ 3570049 h 5561214"/>
                  <a:gd name="connsiteX213" fmla="*/ 6889715 w 9950334"/>
                  <a:gd name="connsiteY213" fmla="*/ 3388915 h 5561214"/>
                  <a:gd name="connsiteX214" fmla="*/ 6880274 w 9950334"/>
                  <a:gd name="connsiteY214" fmla="*/ 3319014 h 5561214"/>
                  <a:gd name="connsiteX215" fmla="*/ 6864195 w 9950334"/>
                  <a:gd name="connsiteY215" fmla="*/ 3310859 h 5561214"/>
                  <a:gd name="connsiteX216" fmla="*/ 6917729 w 9950334"/>
                  <a:gd name="connsiteY216" fmla="*/ 3044851 h 5561214"/>
                  <a:gd name="connsiteX217" fmla="*/ 6928203 w 9950334"/>
                  <a:gd name="connsiteY217" fmla="*/ 3043521 h 5561214"/>
                  <a:gd name="connsiteX218" fmla="*/ 6949317 w 9950334"/>
                  <a:gd name="connsiteY218" fmla="*/ 3007943 h 5561214"/>
                  <a:gd name="connsiteX219" fmla="*/ 7218400 w 9950334"/>
                  <a:gd name="connsiteY219" fmla="*/ 2917418 h 5561214"/>
                  <a:gd name="connsiteX220" fmla="*/ 7269800 w 9950334"/>
                  <a:gd name="connsiteY220" fmla="*/ 2936027 h 5561214"/>
                  <a:gd name="connsiteX221" fmla="*/ 7288410 w 9950334"/>
                  <a:gd name="connsiteY221" fmla="*/ 2884627 h 5561214"/>
                  <a:gd name="connsiteX222" fmla="*/ 7264951 w 9950334"/>
                  <a:gd name="connsiteY222" fmla="*/ 2864133 h 5561214"/>
                  <a:gd name="connsiteX223" fmla="*/ 7317488 w 9950334"/>
                  <a:gd name="connsiteY223" fmla="*/ 2603529 h 5561214"/>
                  <a:gd name="connsiteX224" fmla="*/ 7337355 w 9950334"/>
                  <a:gd name="connsiteY224" fmla="*/ 2601451 h 5561214"/>
                  <a:gd name="connsiteX225" fmla="*/ 7371188 w 9950334"/>
                  <a:gd name="connsiteY225" fmla="*/ 2543262 h 5561214"/>
                  <a:gd name="connsiteX226" fmla="*/ 7630878 w 9950334"/>
                  <a:gd name="connsiteY226" fmla="*/ 2455895 h 5561214"/>
                  <a:gd name="connsiteX227" fmla="*/ 7670779 w 9950334"/>
                  <a:gd name="connsiteY227" fmla="*/ 2473185 h 5561214"/>
                  <a:gd name="connsiteX228" fmla="*/ 7680255 w 9950334"/>
                  <a:gd name="connsiteY228" fmla="*/ 2468197 h 5561214"/>
                  <a:gd name="connsiteX229" fmla="*/ 7882587 w 9950334"/>
                  <a:gd name="connsiteY229" fmla="*/ 2646672 h 5561214"/>
                  <a:gd name="connsiteX230" fmla="*/ 7886351 w 9950334"/>
                  <a:gd name="connsiteY230" fmla="*/ 2717107 h 5561214"/>
                  <a:gd name="connsiteX231" fmla="*/ 7956786 w 9950334"/>
                  <a:gd name="connsiteY231" fmla="*/ 2713344 h 5561214"/>
                  <a:gd name="connsiteX232" fmla="*/ 7967543 w 9950334"/>
                  <a:gd name="connsiteY232" fmla="*/ 2665958 h 5561214"/>
                  <a:gd name="connsiteX233" fmla="*/ 8221580 w 9950334"/>
                  <a:gd name="connsiteY233" fmla="*/ 2580419 h 5561214"/>
                  <a:gd name="connsiteX234" fmla="*/ 8273508 w 9950334"/>
                  <a:gd name="connsiteY234" fmla="*/ 2597874 h 5561214"/>
                  <a:gd name="connsiteX235" fmla="*/ 8290962 w 9950334"/>
                  <a:gd name="connsiteY235" fmla="*/ 2545946 h 5561214"/>
                  <a:gd name="connsiteX236" fmla="*/ 8268630 w 9950334"/>
                  <a:gd name="connsiteY236" fmla="*/ 2526470 h 5561214"/>
                  <a:gd name="connsiteX237" fmla="*/ 8320502 w 9950334"/>
                  <a:gd name="connsiteY237" fmla="*/ 2269274 h 5561214"/>
                  <a:gd name="connsiteX238" fmla="*/ 8375851 w 9950334"/>
                  <a:gd name="connsiteY238" fmla="*/ 2225550 h 5561214"/>
                  <a:gd name="connsiteX239" fmla="*/ 8374451 w 9950334"/>
                  <a:gd name="connsiteY239" fmla="*/ 2206679 h 5561214"/>
                  <a:gd name="connsiteX240" fmla="*/ 8614439 w 9950334"/>
                  <a:gd name="connsiteY240" fmla="*/ 2125879 h 5561214"/>
                  <a:gd name="connsiteX241" fmla="*/ 8680128 w 9950334"/>
                  <a:gd name="connsiteY241" fmla="*/ 2151576 h 5561214"/>
                  <a:gd name="connsiteX242" fmla="*/ 8693992 w 9950334"/>
                  <a:gd name="connsiteY242" fmla="*/ 2142505 h 5561214"/>
                  <a:gd name="connsiteX243" fmla="*/ 8897488 w 9950334"/>
                  <a:gd name="connsiteY243" fmla="*/ 2321894 h 5561214"/>
                  <a:gd name="connsiteX244" fmla="*/ 8894080 w 9950334"/>
                  <a:gd name="connsiteY244" fmla="*/ 2347746 h 5561214"/>
                  <a:gd name="connsiteX245" fmla="*/ 8932971 w 9950334"/>
                  <a:gd name="connsiteY245" fmla="*/ 2368254 h 5561214"/>
                  <a:gd name="connsiteX246" fmla="*/ 8954513 w 9950334"/>
                  <a:gd name="connsiteY246" fmla="*/ 2333864 h 5561214"/>
                  <a:gd name="connsiteX247" fmla="*/ 9215366 w 9950334"/>
                  <a:gd name="connsiteY247" fmla="*/ 2246082 h 5561214"/>
                  <a:gd name="connsiteX248" fmla="*/ 9276299 w 9950334"/>
                  <a:gd name="connsiteY248" fmla="*/ 2274179 h 5561214"/>
                  <a:gd name="connsiteX249" fmla="*/ 9294005 w 9950334"/>
                  <a:gd name="connsiteY249" fmla="*/ 2264203 h 5561214"/>
                  <a:gd name="connsiteX250" fmla="*/ 9495090 w 9950334"/>
                  <a:gd name="connsiteY250" fmla="*/ 2441431 h 5561214"/>
                  <a:gd name="connsiteX251" fmla="*/ 9505679 w 9950334"/>
                  <a:gd name="connsiteY251" fmla="*/ 2484104 h 5561214"/>
                  <a:gd name="connsiteX252" fmla="*/ 9548352 w 9950334"/>
                  <a:gd name="connsiteY252" fmla="*/ 2473514 h 5561214"/>
                  <a:gd name="connsiteX253" fmla="*/ 9552696 w 9950334"/>
                  <a:gd name="connsiteY253" fmla="*/ 2454814 h 5561214"/>
                  <a:gd name="connsiteX254" fmla="*/ 9811056 w 9950334"/>
                  <a:gd name="connsiteY254" fmla="*/ 2367863 h 5561214"/>
                  <a:gd name="connsiteX255" fmla="*/ 9877754 w 9950334"/>
                  <a:gd name="connsiteY255" fmla="*/ 2390813 h 5561214"/>
                  <a:gd name="connsiteX256" fmla="*/ 9900703 w 9950334"/>
                  <a:gd name="connsiteY256" fmla="*/ 2324115 h 5561214"/>
                  <a:gd name="connsiteX257" fmla="*/ 9871489 w 9950334"/>
                  <a:gd name="connsiteY257" fmla="*/ 2298618 h 5561214"/>
                  <a:gd name="connsiteX258" fmla="*/ 9924609 w 9950334"/>
                  <a:gd name="connsiteY258" fmla="*/ 2035104 h 5561214"/>
                  <a:gd name="connsiteX259" fmla="*/ 9957879 w 9950334"/>
                  <a:gd name="connsiteY259" fmla="*/ 2006002 h 5561214"/>
                  <a:gd name="connsiteX260" fmla="*/ 9928776 w 9950334"/>
                  <a:gd name="connsiteY260" fmla="*/ 1972732 h 5561214"/>
                  <a:gd name="connsiteX261" fmla="*/ 9907401 w 9950334"/>
                  <a:gd name="connsiteY261" fmla="*/ 1979326 h 5561214"/>
                  <a:gd name="connsiteX262" fmla="*/ 9703074 w 9950334"/>
                  <a:gd name="connsiteY262" fmla="*/ 1799189 h 5561214"/>
                  <a:gd name="connsiteX263" fmla="*/ 9693008 w 9950334"/>
                  <a:gd name="connsiteY263" fmla="*/ 1729375 h 5561214"/>
                  <a:gd name="connsiteX264" fmla="*/ 9623194 w 9950334"/>
                  <a:gd name="connsiteY264" fmla="*/ 1739442 h 5561214"/>
                  <a:gd name="connsiteX265" fmla="*/ 9614545 w 9950334"/>
                  <a:gd name="connsiteY265" fmla="*/ 1780569 h 5561214"/>
                  <a:gd name="connsiteX266" fmla="*/ 9355436 w 9950334"/>
                  <a:gd name="connsiteY266" fmla="*/ 1867769 h 5561214"/>
                  <a:gd name="connsiteX267" fmla="*/ 9313221 w 9950334"/>
                  <a:gd name="connsiteY267" fmla="*/ 1855481 h 5561214"/>
                  <a:gd name="connsiteX268" fmla="*/ 9308552 w 9950334"/>
                  <a:gd name="connsiteY268" fmla="*/ 1858625 h 5561214"/>
                  <a:gd name="connsiteX269" fmla="*/ 9093585 w 9950334"/>
                  <a:gd name="connsiteY269" fmla="*/ 1669428 h 5561214"/>
                  <a:gd name="connsiteX270" fmla="*/ 9084794 w 9950334"/>
                  <a:gd name="connsiteY270" fmla="*/ 1619408 h 5561214"/>
                  <a:gd name="connsiteX271" fmla="*/ 9034775 w 9950334"/>
                  <a:gd name="connsiteY271" fmla="*/ 1628199 h 5561214"/>
                  <a:gd name="connsiteX272" fmla="*/ 9028829 w 9950334"/>
                  <a:gd name="connsiteY272" fmla="*/ 1655130 h 5561214"/>
                  <a:gd name="connsiteX273" fmla="*/ 8757252 w 9950334"/>
                  <a:gd name="connsiteY273" fmla="*/ 1746736 h 5561214"/>
                  <a:gd name="connsiteX274" fmla="*/ 8719761 w 9950334"/>
                  <a:gd name="connsiteY274" fmla="*/ 1730110 h 5561214"/>
                  <a:gd name="connsiteX275" fmla="*/ 8708373 w 9950334"/>
                  <a:gd name="connsiteY275" fmla="*/ 1736761 h 5561214"/>
                  <a:gd name="connsiteX276" fmla="*/ 8504545 w 9950334"/>
                  <a:gd name="connsiteY276" fmla="*/ 1556873 h 5561214"/>
                  <a:gd name="connsiteX277" fmla="*/ 8495841 w 9950334"/>
                  <a:gd name="connsiteY277" fmla="*/ 1486876 h 5561214"/>
                  <a:gd name="connsiteX278" fmla="*/ 8478776 w 9950334"/>
                  <a:gd name="connsiteY278" fmla="*/ 1478235 h 5561214"/>
                  <a:gd name="connsiteX279" fmla="*/ 8531894 w 9950334"/>
                  <a:gd name="connsiteY279" fmla="*/ 1214721 h 5561214"/>
                  <a:gd name="connsiteX280" fmla="*/ 8542950 w 9950334"/>
                  <a:gd name="connsiteY280" fmla="*/ 1213475 h 5561214"/>
                  <a:gd name="connsiteX281" fmla="*/ 8563565 w 9950334"/>
                  <a:gd name="connsiteY281" fmla="*/ 1175652 h 5561214"/>
                  <a:gd name="connsiteX282" fmla="*/ 8835392 w 9950334"/>
                  <a:gd name="connsiteY282" fmla="*/ 1084211 h 5561214"/>
                  <a:gd name="connsiteX283" fmla="*/ 8883473 w 9950334"/>
                  <a:gd name="connsiteY283" fmla="*/ 1100925 h 5561214"/>
                  <a:gd name="connsiteX284" fmla="*/ 8900187 w 9950334"/>
                  <a:gd name="connsiteY284" fmla="*/ 1052844 h 5561214"/>
                  <a:gd name="connsiteX285" fmla="*/ 8879034 w 9950334"/>
                  <a:gd name="connsiteY285" fmla="*/ 1034335 h 5561214"/>
                  <a:gd name="connsiteX286" fmla="*/ 8935477 w 9950334"/>
                  <a:gd name="connsiteY286" fmla="*/ 754362 h 5561214"/>
                  <a:gd name="connsiteX287" fmla="*/ 8944787 w 9950334"/>
                  <a:gd name="connsiteY287" fmla="*/ 753032 h 5561214"/>
                  <a:gd name="connsiteX288" fmla="*/ 8965901 w 9950334"/>
                  <a:gd name="connsiteY288" fmla="*/ 717953 h 5561214"/>
                  <a:gd name="connsiteX289" fmla="*/ 9235566 w 9950334"/>
                  <a:gd name="connsiteY289" fmla="*/ 627178 h 5561214"/>
                  <a:gd name="connsiteX290" fmla="*/ 9287630 w 9950334"/>
                  <a:gd name="connsiteY290" fmla="*/ 644221 h 5561214"/>
                  <a:gd name="connsiteX291" fmla="*/ 9304673 w 9950334"/>
                  <a:gd name="connsiteY291" fmla="*/ 592156 h 5561214"/>
                  <a:gd name="connsiteX292" fmla="*/ 9283031 w 9950334"/>
                  <a:gd name="connsiteY292" fmla="*/ 573145 h 5561214"/>
                  <a:gd name="connsiteX293" fmla="*/ 9338561 w 9950334"/>
                  <a:gd name="connsiteY293" fmla="*/ 297495 h 5561214"/>
                  <a:gd name="connsiteX294" fmla="*/ 9370548 w 9950334"/>
                  <a:gd name="connsiteY294" fmla="*/ 267330 h 5561214"/>
                  <a:gd name="connsiteX295" fmla="*/ 9340383 w 9950334"/>
                  <a:gd name="connsiteY295" fmla="*/ 235343 h 5561214"/>
                  <a:gd name="connsiteX296" fmla="*/ 9330248 w 9950334"/>
                  <a:gd name="connsiteY296" fmla="*/ 236729 h 5561214"/>
                  <a:gd name="connsiteX297" fmla="*/ 9320938 w 9950334"/>
                  <a:gd name="connsiteY297" fmla="*/ 241717 h 5561214"/>
                  <a:gd name="connsiteX298" fmla="*/ 9102646 w 9950334"/>
                  <a:gd name="connsiteY298" fmla="*/ 49277 h 5561214"/>
                  <a:gd name="connsiteX299" fmla="*/ 9095615 w 9950334"/>
                  <a:gd name="connsiteY299" fmla="*/ 5876 h 5561214"/>
                  <a:gd name="connsiteX300" fmla="*/ 9052213 w 9950334"/>
                  <a:gd name="connsiteY300" fmla="*/ 12907 h 5561214"/>
                  <a:gd name="connsiteX301" fmla="*/ 9046951 w 9950334"/>
                  <a:gd name="connsiteY301" fmla="*/ 37224 h 5561214"/>
                  <a:gd name="connsiteX302" fmla="*/ 8776704 w 9950334"/>
                  <a:gd name="connsiteY302" fmla="*/ 128248 h 5561214"/>
                  <a:gd name="connsiteX303" fmla="*/ 8724941 w 9950334"/>
                  <a:gd name="connsiteY303" fmla="*/ 110310 h 5561214"/>
                  <a:gd name="connsiteX304" fmla="*/ 8707003 w 9950334"/>
                  <a:gd name="connsiteY304" fmla="*/ 162073 h 5561214"/>
                  <a:gd name="connsiteX305" fmla="*/ 8730236 w 9950334"/>
                  <a:gd name="connsiteY305" fmla="*/ 182114 h 5561214"/>
                  <a:gd name="connsiteX306" fmla="*/ 8674125 w 9950334"/>
                  <a:gd name="connsiteY306" fmla="*/ 459178 h 5561214"/>
                  <a:gd name="connsiteX307" fmla="*/ 8662653 w 9950334"/>
                  <a:gd name="connsiteY307" fmla="*/ 460508 h 5561214"/>
                  <a:gd name="connsiteX308" fmla="*/ 8641539 w 9950334"/>
                  <a:gd name="connsiteY308" fmla="*/ 496086 h 5561214"/>
                  <a:gd name="connsiteX309" fmla="*/ 8365557 w 9950334"/>
                  <a:gd name="connsiteY309" fmla="*/ 588939 h 5561214"/>
                  <a:gd name="connsiteX310" fmla="*/ 8323368 w 9950334"/>
                  <a:gd name="connsiteY310" fmla="*/ 576148 h 5561214"/>
                  <a:gd name="connsiteX311" fmla="*/ 8310577 w 9950334"/>
                  <a:gd name="connsiteY311" fmla="*/ 618337 h 5561214"/>
                  <a:gd name="connsiteX312" fmla="*/ 8328066 w 9950334"/>
                  <a:gd name="connsiteY312" fmla="*/ 633163 h 5561214"/>
                  <a:gd name="connsiteX313" fmla="*/ 8272287 w 9950334"/>
                  <a:gd name="connsiteY313" fmla="*/ 909727 h 5561214"/>
                  <a:gd name="connsiteX314" fmla="*/ 8256493 w 9950334"/>
                  <a:gd name="connsiteY314" fmla="*/ 911307 h 5561214"/>
                  <a:gd name="connsiteX315" fmla="*/ 8230557 w 9950334"/>
                  <a:gd name="connsiteY315" fmla="*/ 956777 h 5561214"/>
                  <a:gd name="connsiteX316" fmla="*/ 7981176 w 9950334"/>
                  <a:gd name="connsiteY316" fmla="*/ 1040736 h 5561214"/>
                  <a:gd name="connsiteX317" fmla="*/ 7920992 w 9950334"/>
                  <a:gd name="connsiteY317" fmla="*/ 1014302 h 5561214"/>
                  <a:gd name="connsiteX318" fmla="*/ 7902455 w 9950334"/>
                  <a:gd name="connsiteY318" fmla="*/ 1025025 h 5561214"/>
                  <a:gd name="connsiteX319" fmla="*/ 7698128 w 9950334"/>
                  <a:gd name="connsiteY319" fmla="*/ 844888 h 5561214"/>
                  <a:gd name="connsiteX320" fmla="*/ 7687924 w 9950334"/>
                  <a:gd name="connsiteY320" fmla="*/ 802121 h 5561214"/>
                  <a:gd name="connsiteX321" fmla="*/ 7645157 w 9950334"/>
                  <a:gd name="connsiteY321" fmla="*/ 812325 h 5561214"/>
                  <a:gd name="connsiteX322" fmla="*/ 7640853 w 9950334"/>
                  <a:gd name="connsiteY322" fmla="*/ 832918 h 5561214"/>
                  <a:gd name="connsiteX323" fmla="*/ 7372933 w 9950334"/>
                  <a:gd name="connsiteY323" fmla="*/ 923111 h 5561214"/>
                  <a:gd name="connsiteX324" fmla="*/ 7321556 w 9950334"/>
                  <a:gd name="connsiteY324" fmla="*/ 904097 h 5561214"/>
                  <a:gd name="connsiteX325" fmla="*/ 7302543 w 9950334"/>
                  <a:gd name="connsiteY325" fmla="*/ 955475 h 5561214"/>
                  <a:gd name="connsiteX326" fmla="*/ 7325551 w 9950334"/>
                  <a:gd name="connsiteY326" fmla="*/ 976063 h 5561214"/>
                  <a:gd name="connsiteX327" fmla="*/ 7269274 w 9950334"/>
                  <a:gd name="connsiteY327" fmla="*/ 1253209 h 5561214"/>
                  <a:gd name="connsiteX328" fmla="*/ 7237901 w 9950334"/>
                  <a:gd name="connsiteY328" fmla="*/ 1284013 h 5561214"/>
                  <a:gd name="connsiteX329" fmla="*/ 7268704 w 9950334"/>
                  <a:gd name="connsiteY329" fmla="*/ 1315386 h 5561214"/>
                  <a:gd name="connsiteX330" fmla="*/ 7278251 w 9950334"/>
                  <a:gd name="connsiteY330" fmla="*/ 1313975 h 5561214"/>
                  <a:gd name="connsiteX331" fmla="*/ 7287562 w 9950334"/>
                  <a:gd name="connsiteY331" fmla="*/ 1308988 h 5561214"/>
                  <a:gd name="connsiteX332" fmla="*/ 7506270 w 9950334"/>
                  <a:gd name="connsiteY332" fmla="*/ 1501760 h 5561214"/>
                  <a:gd name="connsiteX333" fmla="*/ 7515714 w 9950334"/>
                  <a:gd name="connsiteY333" fmla="*/ 1544701 h 5561214"/>
                  <a:gd name="connsiteX334" fmla="*/ 7558655 w 9950334"/>
                  <a:gd name="connsiteY334" fmla="*/ 1535257 h 5561214"/>
                  <a:gd name="connsiteX335" fmla="*/ 7562963 w 9950334"/>
                  <a:gd name="connsiteY335" fmla="*/ 1512483 h 5561214"/>
                  <a:gd name="connsiteX336" fmla="*/ 7831131 w 9950334"/>
                  <a:gd name="connsiteY336" fmla="*/ 1422540 h 5561214"/>
                  <a:gd name="connsiteX337" fmla="*/ 7882855 w 9950334"/>
                  <a:gd name="connsiteY337" fmla="*/ 1440230 h 5561214"/>
                  <a:gd name="connsiteX338" fmla="*/ 7891316 w 9950334"/>
                  <a:gd name="connsiteY338" fmla="*/ 1434593 h 5561214"/>
                  <a:gd name="connsiteX339" fmla="*/ 8103706 w 9950334"/>
                  <a:gd name="connsiteY339" fmla="*/ 1622045 h 5561214"/>
                  <a:gd name="connsiteX340" fmla="*/ 8112900 w 9950334"/>
                  <a:gd name="connsiteY340" fmla="*/ 1664920 h 5561214"/>
                  <a:gd name="connsiteX341" fmla="*/ 8120331 w 9950334"/>
                  <a:gd name="connsiteY341" fmla="*/ 1668430 h 5561214"/>
                  <a:gd name="connsiteX342" fmla="*/ 8066298 w 9950334"/>
                  <a:gd name="connsiteY342" fmla="*/ 1936515 h 5561214"/>
                  <a:gd name="connsiteX343" fmla="*/ 8045932 w 9950334"/>
                  <a:gd name="connsiteY343" fmla="*/ 1938510 h 5561214"/>
                  <a:gd name="connsiteX344" fmla="*/ 8012681 w 9950334"/>
                  <a:gd name="connsiteY344" fmla="*/ 1997697 h 5561214"/>
                  <a:gd name="connsiteX345" fmla="*/ 7762385 w 9950334"/>
                  <a:gd name="connsiteY345" fmla="*/ 2081905 h 5561214"/>
                  <a:gd name="connsiteX346" fmla="*/ 7710770 w 9950334"/>
                  <a:gd name="connsiteY346" fmla="*/ 2064259 h 5561214"/>
                  <a:gd name="connsiteX347" fmla="*/ 7702367 w 9950334"/>
                  <a:gd name="connsiteY347" fmla="*/ 2069852 h 5561214"/>
                  <a:gd name="connsiteX348" fmla="*/ 7496211 w 9950334"/>
                  <a:gd name="connsiteY348" fmla="*/ 1888052 h 5561214"/>
                  <a:gd name="connsiteX349" fmla="*/ 7488385 w 9950334"/>
                  <a:gd name="connsiteY349" fmla="*/ 1833831 h 5561214"/>
                  <a:gd name="connsiteX350" fmla="*/ 7434164 w 9950334"/>
                  <a:gd name="connsiteY350" fmla="*/ 1841657 h 5561214"/>
                  <a:gd name="connsiteX351" fmla="*/ 7427133 w 9950334"/>
                  <a:gd name="connsiteY351" fmla="*/ 1872092 h 5561214"/>
                  <a:gd name="connsiteX352" fmla="*/ 7174675 w 9950334"/>
                  <a:gd name="connsiteY352" fmla="*/ 1957048 h 5561214"/>
                  <a:gd name="connsiteX353" fmla="*/ 7109501 w 9950334"/>
                  <a:gd name="connsiteY353" fmla="*/ 1930074 h 5561214"/>
                  <a:gd name="connsiteX354" fmla="*/ 7082527 w 9950334"/>
                  <a:gd name="connsiteY354" fmla="*/ 1995249 h 5561214"/>
                  <a:gd name="connsiteX355" fmla="*/ 7114990 w 9950334"/>
                  <a:gd name="connsiteY355" fmla="*/ 2024132 h 5561214"/>
                  <a:gd name="connsiteX356" fmla="*/ 7061456 w 9950334"/>
                  <a:gd name="connsiteY356" fmla="*/ 2291303 h 5561214"/>
                  <a:gd name="connsiteX357" fmla="*/ 7050317 w 9950334"/>
                  <a:gd name="connsiteY357" fmla="*/ 2292550 h 5561214"/>
                  <a:gd name="connsiteX358" fmla="*/ 7031114 w 9950334"/>
                  <a:gd name="connsiteY358" fmla="*/ 2327713 h 5561214"/>
                  <a:gd name="connsiteX359" fmla="*/ 6753719 w 9950334"/>
                  <a:gd name="connsiteY359" fmla="*/ 2421064 h 5561214"/>
                  <a:gd name="connsiteX360" fmla="*/ 6709163 w 9950334"/>
                  <a:gd name="connsiteY360" fmla="*/ 2406030 h 5561214"/>
                  <a:gd name="connsiteX361" fmla="*/ 6694129 w 9950334"/>
                  <a:gd name="connsiteY361" fmla="*/ 2450585 h 5561214"/>
                  <a:gd name="connsiteX362" fmla="*/ 6713652 w 9950334"/>
                  <a:gd name="connsiteY362" fmla="*/ 2467449 h 5561214"/>
                  <a:gd name="connsiteX363" fmla="*/ 6659286 w 9950334"/>
                  <a:gd name="connsiteY363" fmla="*/ 2736865 h 5561214"/>
                  <a:gd name="connsiteX364" fmla="*/ 6642162 w 9950334"/>
                  <a:gd name="connsiteY364" fmla="*/ 2738693 h 5561214"/>
                  <a:gd name="connsiteX365" fmla="*/ 6612984 w 9950334"/>
                  <a:gd name="connsiteY365" fmla="*/ 2790731 h 5561214"/>
                  <a:gd name="connsiteX366" fmla="*/ 6361275 w 9950334"/>
                  <a:gd name="connsiteY366" fmla="*/ 2875521 h 5561214"/>
                  <a:gd name="connsiteX367" fmla="*/ 6311489 w 9950334"/>
                  <a:gd name="connsiteY367" fmla="*/ 2853814 h 5561214"/>
                  <a:gd name="connsiteX368" fmla="*/ 6296104 w 9950334"/>
                  <a:gd name="connsiteY368" fmla="*/ 2864881 h 5561214"/>
                  <a:gd name="connsiteX369" fmla="*/ 6083048 w 9950334"/>
                  <a:gd name="connsiteY369" fmla="*/ 2677761 h 5561214"/>
                  <a:gd name="connsiteX370" fmla="*/ 6072155 w 9950334"/>
                  <a:gd name="connsiteY370" fmla="*/ 2635165 h 5561214"/>
                  <a:gd name="connsiteX371" fmla="*/ 6029558 w 9950334"/>
                  <a:gd name="connsiteY371" fmla="*/ 2646057 h 5561214"/>
                  <a:gd name="connsiteX372" fmla="*/ 6025524 w 9950334"/>
                  <a:gd name="connsiteY372" fmla="*/ 2666290 h 5561214"/>
                  <a:gd name="connsiteX373" fmla="*/ 5770240 w 9950334"/>
                  <a:gd name="connsiteY373" fmla="*/ 2752244 h 5561214"/>
                  <a:gd name="connsiteX374" fmla="*/ 5704244 w 9950334"/>
                  <a:gd name="connsiteY374" fmla="*/ 2727346 h 5561214"/>
                  <a:gd name="connsiteX375" fmla="*/ 5689191 w 9950334"/>
                  <a:gd name="connsiteY375" fmla="*/ 2737862 h 5561214"/>
                  <a:gd name="connsiteX376" fmla="*/ 5482786 w 9950334"/>
                  <a:gd name="connsiteY376" fmla="*/ 2555980 h 5561214"/>
                  <a:gd name="connsiteX377" fmla="*/ 5472354 w 9950334"/>
                  <a:gd name="connsiteY377" fmla="*/ 2513753 h 5561214"/>
                  <a:gd name="connsiteX378" fmla="*/ 5467407 w 9950334"/>
                  <a:gd name="connsiteY378" fmla="*/ 2511341 h 5561214"/>
                  <a:gd name="connsiteX379" fmla="*/ 5525596 w 9950334"/>
                  <a:gd name="connsiteY379" fmla="*/ 2223970 h 5561214"/>
                  <a:gd name="connsiteX380" fmla="*/ 5536320 w 9950334"/>
                  <a:gd name="connsiteY380" fmla="*/ 2222640 h 5561214"/>
                  <a:gd name="connsiteX381" fmla="*/ 5557600 w 9950334"/>
                  <a:gd name="connsiteY381" fmla="*/ 2187975 h 5561214"/>
                  <a:gd name="connsiteX382" fmla="*/ 5824605 w 9950334"/>
                  <a:gd name="connsiteY382" fmla="*/ 2098115 h 5561214"/>
                  <a:gd name="connsiteX383" fmla="*/ 5876878 w 9950334"/>
                  <a:gd name="connsiteY383" fmla="*/ 2114509 h 5561214"/>
                  <a:gd name="connsiteX384" fmla="*/ 5893271 w 9950334"/>
                  <a:gd name="connsiteY384" fmla="*/ 2062236 h 5561214"/>
                  <a:gd name="connsiteX385" fmla="*/ 5872569 w 9950334"/>
                  <a:gd name="connsiteY385" fmla="*/ 2043916 h 5561214"/>
                  <a:gd name="connsiteX386" fmla="*/ 5928514 w 9950334"/>
                  <a:gd name="connsiteY386" fmla="*/ 1766520 h 5561214"/>
                  <a:gd name="connsiteX387" fmla="*/ 5939487 w 9950334"/>
                  <a:gd name="connsiteY387" fmla="*/ 1765273 h 5561214"/>
                  <a:gd name="connsiteX388" fmla="*/ 5960601 w 9950334"/>
                  <a:gd name="connsiteY388" fmla="*/ 1729944 h 5561214"/>
                  <a:gd name="connsiteX389" fmla="*/ 6224697 w 9950334"/>
                  <a:gd name="connsiteY389" fmla="*/ 1641081 h 5561214"/>
                  <a:gd name="connsiteX390" fmla="*/ 6281967 w 9950334"/>
                  <a:gd name="connsiteY390" fmla="*/ 1662795 h 5561214"/>
                  <a:gd name="connsiteX391" fmla="*/ 6294607 w 9950334"/>
                  <a:gd name="connsiteY391" fmla="*/ 1654132 h 5561214"/>
                  <a:gd name="connsiteX392" fmla="*/ 6501511 w 9950334"/>
                  <a:gd name="connsiteY392" fmla="*/ 1836513 h 5561214"/>
                  <a:gd name="connsiteX393" fmla="*/ 6509308 w 9950334"/>
                  <a:gd name="connsiteY393" fmla="*/ 1882886 h 5561214"/>
                  <a:gd name="connsiteX394" fmla="*/ 6555681 w 9950334"/>
                  <a:gd name="connsiteY394" fmla="*/ 1875089 h 5561214"/>
                  <a:gd name="connsiteX395" fmla="*/ 6561362 w 9950334"/>
                  <a:gd name="connsiteY395" fmla="*/ 1850146 h 5561214"/>
                  <a:gd name="connsiteX396" fmla="*/ 6829863 w 9950334"/>
                  <a:gd name="connsiteY396" fmla="*/ 1759704 h 5561214"/>
                  <a:gd name="connsiteX397" fmla="*/ 6881303 w 9950334"/>
                  <a:gd name="connsiteY397" fmla="*/ 1778548 h 5561214"/>
                  <a:gd name="connsiteX398" fmla="*/ 6900148 w 9950334"/>
                  <a:gd name="connsiteY398" fmla="*/ 1727108 h 5561214"/>
                  <a:gd name="connsiteX399" fmla="*/ 6876249 w 9950334"/>
                  <a:gd name="connsiteY399" fmla="*/ 1706336 h 5561214"/>
                  <a:gd name="connsiteX400" fmla="*/ 6928452 w 9950334"/>
                  <a:gd name="connsiteY400" fmla="*/ 1447478 h 5561214"/>
                  <a:gd name="connsiteX401" fmla="*/ 6948320 w 9950334"/>
                  <a:gd name="connsiteY401" fmla="*/ 1445400 h 5561214"/>
                  <a:gd name="connsiteX402" fmla="*/ 6980961 w 9950334"/>
                  <a:gd name="connsiteY402" fmla="*/ 1382870 h 5561214"/>
                  <a:gd name="connsiteX403" fmla="*/ 6918432 w 9950334"/>
                  <a:gd name="connsiteY403" fmla="*/ 1350230 h 5561214"/>
                  <a:gd name="connsiteX404" fmla="*/ 6899607 w 9950334"/>
                  <a:gd name="connsiteY404" fmla="*/ 1361108 h 5561214"/>
                  <a:gd name="connsiteX405" fmla="*/ 6694283 w 9950334"/>
                  <a:gd name="connsiteY405" fmla="*/ 1180057 h 5561214"/>
                  <a:gd name="connsiteX406" fmla="*/ 6684987 w 9950334"/>
                  <a:gd name="connsiteY406" fmla="*/ 1140096 h 5561214"/>
                  <a:gd name="connsiteX407" fmla="*/ 6645026 w 9950334"/>
                  <a:gd name="connsiteY407" fmla="*/ 1149391 h 5561214"/>
                  <a:gd name="connsiteX408" fmla="*/ 6640998 w 9950334"/>
                  <a:gd name="connsiteY408" fmla="*/ 1169251 h 5561214"/>
                  <a:gd name="connsiteX409" fmla="*/ 6362273 w 9950334"/>
                  <a:gd name="connsiteY409" fmla="*/ 1263018 h 5561214"/>
                  <a:gd name="connsiteX410" fmla="*/ 6324782 w 9950334"/>
                  <a:gd name="connsiteY410" fmla="*/ 1246393 h 5561214"/>
                  <a:gd name="connsiteX411" fmla="*/ 6314308 w 9950334"/>
                  <a:gd name="connsiteY411" fmla="*/ 1252129 h 5561214"/>
                  <a:gd name="connsiteX412" fmla="*/ 6105492 w 9950334"/>
                  <a:gd name="connsiteY412" fmla="*/ 1069249 h 5561214"/>
                  <a:gd name="connsiteX413" fmla="*/ 6094639 w 9950334"/>
                  <a:gd name="connsiteY413" fmla="*/ 1007656 h 5561214"/>
                  <a:gd name="connsiteX414" fmla="*/ 6033046 w 9950334"/>
                  <a:gd name="connsiteY414" fmla="*/ 1018509 h 5561214"/>
                  <a:gd name="connsiteX415" fmla="*/ 6026189 w 9950334"/>
                  <a:gd name="connsiteY415" fmla="*/ 1053870 h 5561214"/>
                  <a:gd name="connsiteX416" fmla="*/ 5767996 w 9950334"/>
                  <a:gd name="connsiteY416" fmla="*/ 1140821 h 5561214"/>
                  <a:gd name="connsiteX417" fmla="*/ 5719680 w 9950334"/>
                  <a:gd name="connsiteY417" fmla="*/ 1124800 h 5561214"/>
                  <a:gd name="connsiteX418" fmla="*/ 5703658 w 9950334"/>
                  <a:gd name="connsiteY418" fmla="*/ 1173116 h 5561214"/>
                  <a:gd name="connsiteX419" fmla="*/ 5724437 w 9950334"/>
                  <a:gd name="connsiteY419" fmla="*/ 1191113 h 5561214"/>
                  <a:gd name="connsiteX420" fmla="*/ 5670737 w 9950334"/>
                  <a:gd name="connsiteY420" fmla="*/ 1457121 h 5561214"/>
                  <a:gd name="connsiteX421" fmla="*/ 5652532 w 9950334"/>
                  <a:gd name="connsiteY421" fmla="*/ 1458866 h 5561214"/>
                  <a:gd name="connsiteX422" fmla="*/ 5623437 w 9950334"/>
                  <a:gd name="connsiteY422" fmla="*/ 1511486 h 5561214"/>
                  <a:gd name="connsiteX423" fmla="*/ 5366491 w 9950334"/>
                  <a:gd name="connsiteY423" fmla="*/ 1598437 h 5561214"/>
                  <a:gd name="connsiteX424" fmla="*/ 5314396 w 9950334"/>
                  <a:gd name="connsiteY424" fmla="*/ 1581486 h 5561214"/>
                  <a:gd name="connsiteX425" fmla="*/ 5297445 w 9950334"/>
                  <a:gd name="connsiteY425" fmla="*/ 1633580 h 5561214"/>
                  <a:gd name="connsiteX426" fmla="*/ 5319358 w 9950334"/>
                  <a:gd name="connsiteY426" fmla="*/ 1652636 h 5561214"/>
                  <a:gd name="connsiteX427" fmla="*/ 5266904 w 9950334"/>
                  <a:gd name="connsiteY427" fmla="*/ 1912990 h 5561214"/>
                  <a:gd name="connsiteX428" fmla="*/ 5247453 w 9950334"/>
                  <a:gd name="connsiteY428" fmla="*/ 1915152 h 5561214"/>
                  <a:gd name="connsiteX429" fmla="*/ 5213620 w 9950334"/>
                  <a:gd name="connsiteY429" fmla="*/ 1972510 h 5561214"/>
                  <a:gd name="connsiteX430" fmla="*/ 4966565 w 9950334"/>
                  <a:gd name="connsiteY430" fmla="*/ 2055637 h 5561214"/>
                  <a:gd name="connsiteX431" fmla="*/ 4914278 w 9950334"/>
                  <a:gd name="connsiteY431" fmla="*/ 2033192 h 5561214"/>
                  <a:gd name="connsiteX432" fmla="*/ 4899482 w 9950334"/>
                  <a:gd name="connsiteY432" fmla="*/ 2041505 h 5561214"/>
                  <a:gd name="connsiteX433" fmla="*/ 4700641 w 9950334"/>
                  <a:gd name="connsiteY433" fmla="*/ 1866024 h 5561214"/>
                  <a:gd name="connsiteX434" fmla="*/ 4692515 w 9950334"/>
                  <a:gd name="connsiteY434" fmla="*/ 1804724 h 5561214"/>
                  <a:gd name="connsiteX435" fmla="*/ 4631215 w 9950334"/>
                  <a:gd name="connsiteY435" fmla="*/ 1812850 h 5561214"/>
                  <a:gd name="connsiteX436" fmla="*/ 4623167 w 9950334"/>
                  <a:gd name="connsiteY436" fmla="*/ 1848567 h 5561214"/>
                  <a:gd name="connsiteX437" fmla="*/ 4363477 w 9950334"/>
                  <a:gd name="connsiteY437" fmla="*/ 1935934 h 5561214"/>
                  <a:gd name="connsiteX438" fmla="*/ 4312751 w 9950334"/>
                  <a:gd name="connsiteY438" fmla="*/ 1915875 h 5561214"/>
                  <a:gd name="connsiteX439" fmla="*/ 4302711 w 9950334"/>
                  <a:gd name="connsiteY439" fmla="*/ 1922218 h 5561214"/>
                  <a:gd name="connsiteX440" fmla="*/ 4094893 w 9950334"/>
                  <a:gd name="connsiteY440" fmla="*/ 1739337 h 5561214"/>
                  <a:gd name="connsiteX441" fmla="*/ 4085881 w 9950334"/>
                  <a:gd name="connsiteY441" fmla="*/ 1693185 h 5561214"/>
                  <a:gd name="connsiteX442" fmla="*/ 4075524 w 9950334"/>
                  <a:gd name="connsiteY442" fmla="*/ 1688547 h 5561214"/>
                  <a:gd name="connsiteX443" fmla="*/ 4129474 w 9950334"/>
                  <a:gd name="connsiteY443" fmla="*/ 1421043 h 5561214"/>
                  <a:gd name="connsiteX444" fmla="*/ 4148344 w 9950334"/>
                  <a:gd name="connsiteY444" fmla="*/ 1418882 h 5561214"/>
                  <a:gd name="connsiteX445" fmla="*/ 4181077 w 9950334"/>
                  <a:gd name="connsiteY445" fmla="*/ 1356401 h 5561214"/>
                  <a:gd name="connsiteX446" fmla="*/ 4118596 w 9950334"/>
                  <a:gd name="connsiteY446" fmla="*/ 1323668 h 5561214"/>
                  <a:gd name="connsiteX447" fmla="*/ 4098883 w 9950334"/>
                  <a:gd name="connsiteY447" fmla="*/ 1335339 h 5561214"/>
                  <a:gd name="connsiteX448" fmla="*/ 3898297 w 9950334"/>
                  <a:gd name="connsiteY448" fmla="*/ 1158527 h 5561214"/>
                  <a:gd name="connsiteX449" fmla="*/ 3890208 w 9950334"/>
                  <a:gd name="connsiteY449" fmla="*/ 1112204 h 5561214"/>
                  <a:gd name="connsiteX450" fmla="*/ 3843885 w 9950334"/>
                  <a:gd name="connsiteY450" fmla="*/ 1120293 h 5561214"/>
                  <a:gd name="connsiteX451" fmla="*/ 3838445 w 9950334"/>
                  <a:gd name="connsiteY451" fmla="*/ 1145726 h 5561214"/>
                  <a:gd name="connsiteX452" fmla="*/ 3579005 w 9950334"/>
                  <a:gd name="connsiteY452" fmla="*/ 1233009 h 5561214"/>
                  <a:gd name="connsiteX453" fmla="*/ 3521150 w 9950334"/>
                  <a:gd name="connsiteY453" fmla="*/ 1211516 h 5561214"/>
                  <a:gd name="connsiteX454" fmla="*/ 3499656 w 9950334"/>
                  <a:gd name="connsiteY454" fmla="*/ 1269371 h 5561214"/>
                  <a:gd name="connsiteX455" fmla="*/ 3523725 w 9950334"/>
                  <a:gd name="connsiteY455" fmla="*/ 1291947 h 5561214"/>
                  <a:gd name="connsiteX456" fmla="*/ 3471771 w 9950334"/>
                  <a:gd name="connsiteY456" fmla="*/ 1549641 h 5561214"/>
                  <a:gd name="connsiteX457" fmla="*/ 3417601 w 9950334"/>
                  <a:gd name="connsiteY457" fmla="*/ 1594818 h 5561214"/>
                  <a:gd name="connsiteX458" fmla="*/ 3419733 w 9950334"/>
                  <a:gd name="connsiteY458" fmla="*/ 1614397 h 5561214"/>
                  <a:gd name="connsiteX459" fmla="*/ 3482398 w 9950334"/>
                  <a:gd name="connsiteY459" fmla="*/ 1646778 h 5561214"/>
                  <a:gd name="connsiteX460" fmla="*/ 3502113 w 9950334"/>
                  <a:gd name="connsiteY460" fmla="*/ 1634930 h 5561214"/>
                  <a:gd name="connsiteX461" fmla="*/ 3699290 w 9950334"/>
                  <a:gd name="connsiteY461" fmla="*/ 1808749 h 5561214"/>
                  <a:gd name="connsiteX462" fmla="*/ 3703428 w 9950334"/>
                  <a:gd name="connsiteY462" fmla="*/ 1863139 h 5561214"/>
                  <a:gd name="connsiteX463" fmla="*/ 3718742 w 9950334"/>
                  <a:gd name="connsiteY463" fmla="*/ 1871177 h 5561214"/>
                  <a:gd name="connsiteX464" fmla="*/ 3666039 w 9950334"/>
                  <a:gd name="connsiteY464" fmla="*/ 2132530 h 5561214"/>
                  <a:gd name="connsiteX465" fmla="*/ 3617673 w 9950334"/>
                  <a:gd name="connsiteY465" fmla="*/ 2171058 h 5561214"/>
                  <a:gd name="connsiteX466" fmla="*/ 3656202 w 9950334"/>
                  <a:gd name="connsiteY466" fmla="*/ 2219424 h 5561214"/>
                  <a:gd name="connsiteX467" fmla="*/ 3674352 w 9950334"/>
                  <a:gd name="connsiteY467" fmla="*/ 2217652 h 5561214"/>
                  <a:gd name="connsiteX468" fmla="*/ 3690977 w 9950334"/>
                  <a:gd name="connsiteY468" fmla="*/ 2207926 h 5561214"/>
                  <a:gd name="connsiteX469" fmla="*/ 3897964 w 9950334"/>
                  <a:gd name="connsiteY469" fmla="*/ 2390390 h 5561214"/>
                  <a:gd name="connsiteX470" fmla="*/ 3893642 w 9950334"/>
                  <a:gd name="connsiteY470" fmla="*/ 2419069 h 5561214"/>
                  <a:gd name="connsiteX471" fmla="*/ 3935830 w 9950334"/>
                  <a:gd name="connsiteY471" fmla="*/ 2439839 h 5561214"/>
                  <a:gd name="connsiteX472" fmla="*/ 3958065 w 9950334"/>
                  <a:gd name="connsiteY472" fmla="*/ 2403857 h 5561214"/>
                  <a:gd name="connsiteX473" fmla="*/ 4226816 w 9950334"/>
                  <a:gd name="connsiteY473" fmla="*/ 2313248 h 5561214"/>
                  <a:gd name="connsiteX474" fmla="*/ 4273367 w 9950334"/>
                  <a:gd name="connsiteY474" fmla="*/ 2333698 h 5561214"/>
                  <a:gd name="connsiteX475" fmla="*/ 4286751 w 9950334"/>
                  <a:gd name="connsiteY475" fmla="*/ 2326299 h 5561214"/>
                  <a:gd name="connsiteX476" fmla="*/ 4492823 w 9950334"/>
                  <a:gd name="connsiteY476" fmla="*/ 2507933 h 5561214"/>
                  <a:gd name="connsiteX477" fmla="*/ 4503828 w 9950334"/>
                  <a:gd name="connsiteY477" fmla="*/ 2561479 h 5561214"/>
                  <a:gd name="connsiteX478" fmla="*/ 4557374 w 9950334"/>
                  <a:gd name="connsiteY478" fmla="*/ 2550474 h 5561214"/>
                  <a:gd name="connsiteX479" fmla="*/ 4563149 w 9950334"/>
                  <a:gd name="connsiteY479" fmla="*/ 2522397 h 5561214"/>
                  <a:gd name="connsiteX480" fmla="*/ 4830403 w 9950334"/>
                  <a:gd name="connsiteY480" fmla="*/ 2432453 h 5561214"/>
                  <a:gd name="connsiteX481" fmla="*/ 4875125 w 9950334"/>
                  <a:gd name="connsiteY481" fmla="*/ 2446986 h 5561214"/>
                  <a:gd name="connsiteX482" fmla="*/ 4880778 w 9950334"/>
                  <a:gd name="connsiteY482" fmla="*/ 2443342 h 5561214"/>
                  <a:gd name="connsiteX483" fmla="*/ 5089261 w 9950334"/>
                  <a:gd name="connsiteY483" fmla="*/ 2627885 h 5561214"/>
                  <a:gd name="connsiteX484" fmla="*/ 5098122 w 9950334"/>
                  <a:gd name="connsiteY484" fmla="*/ 2688608 h 5561214"/>
                  <a:gd name="connsiteX485" fmla="*/ 5110542 w 9950334"/>
                  <a:gd name="connsiteY485" fmla="*/ 2695052 h 5561214"/>
                  <a:gd name="connsiteX486" fmla="*/ 5058089 w 9950334"/>
                  <a:gd name="connsiteY486" fmla="*/ 2956903 h 5561214"/>
                  <a:gd name="connsiteX487" fmla="*/ 5044539 w 9950334"/>
                  <a:gd name="connsiteY487" fmla="*/ 2958566 h 5561214"/>
                  <a:gd name="connsiteX488" fmla="*/ 5018769 w 9950334"/>
                  <a:gd name="connsiteY488" fmla="*/ 3005034 h 5561214"/>
                  <a:gd name="connsiteX489" fmla="*/ 4748855 w 9950334"/>
                  <a:gd name="connsiteY489" fmla="*/ 3095808 h 5561214"/>
                  <a:gd name="connsiteX490" fmla="*/ 4711614 w 9950334"/>
                  <a:gd name="connsiteY490" fmla="*/ 3079765 h 5561214"/>
                  <a:gd name="connsiteX491" fmla="*/ 4700724 w 9950334"/>
                  <a:gd name="connsiteY491" fmla="*/ 3085750 h 5561214"/>
                  <a:gd name="connsiteX492" fmla="*/ 4487919 w 9950334"/>
                  <a:gd name="connsiteY492" fmla="*/ 2898049 h 5561214"/>
                  <a:gd name="connsiteX493" fmla="*/ 4478233 w 9950334"/>
                  <a:gd name="connsiteY493" fmla="*/ 2844248 h 5561214"/>
                  <a:gd name="connsiteX494" fmla="*/ 4424433 w 9950334"/>
                  <a:gd name="connsiteY494" fmla="*/ 2853934 h 5561214"/>
                  <a:gd name="connsiteX495" fmla="*/ 4418507 w 9950334"/>
                  <a:gd name="connsiteY495" fmla="*/ 2884665 h 5561214"/>
                  <a:gd name="connsiteX496" fmla="*/ 4151419 w 9950334"/>
                  <a:gd name="connsiteY496" fmla="*/ 2974609 h 5561214"/>
                  <a:gd name="connsiteX497" fmla="*/ 4109429 w 9950334"/>
                  <a:gd name="connsiteY497" fmla="*/ 2961180 h 5561214"/>
                  <a:gd name="connsiteX498" fmla="*/ 4096000 w 9950334"/>
                  <a:gd name="connsiteY498" fmla="*/ 3003170 h 5561214"/>
                  <a:gd name="connsiteX499" fmla="*/ 4112349 w 9950334"/>
                  <a:gd name="connsiteY499" fmla="*/ 3017919 h 5561214"/>
                  <a:gd name="connsiteX500" fmla="*/ 4054161 w 9950334"/>
                  <a:gd name="connsiteY500" fmla="*/ 3304957 h 5561214"/>
                  <a:gd name="connsiteX501" fmla="*/ 4045266 w 9950334"/>
                  <a:gd name="connsiteY501" fmla="*/ 3306287 h 5561214"/>
                  <a:gd name="connsiteX502" fmla="*/ 4023819 w 9950334"/>
                  <a:gd name="connsiteY502" fmla="*/ 3339538 h 5561214"/>
                  <a:gd name="connsiteX503" fmla="*/ 3757812 w 9950334"/>
                  <a:gd name="connsiteY503" fmla="*/ 3428983 h 5561214"/>
                  <a:gd name="connsiteX504" fmla="*/ 3698396 w 9950334"/>
                  <a:gd name="connsiteY504" fmla="*/ 3411432 h 5561214"/>
                  <a:gd name="connsiteX505" fmla="*/ 3680845 w 9950334"/>
                  <a:gd name="connsiteY505" fmla="*/ 3470848 h 5561214"/>
                  <a:gd name="connsiteX506" fmla="*/ 3704111 w 9950334"/>
                  <a:gd name="connsiteY506" fmla="*/ 3490995 h 5561214"/>
                  <a:gd name="connsiteX507" fmla="*/ 3652490 w 9950334"/>
                  <a:gd name="connsiteY507" fmla="*/ 3747028 h 5561214"/>
                  <a:gd name="connsiteX508" fmla="*/ 3604992 w 9950334"/>
                  <a:gd name="connsiteY508" fmla="*/ 3786438 h 5561214"/>
                  <a:gd name="connsiteX509" fmla="*/ 3606437 w 9950334"/>
                  <a:gd name="connsiteY509" fmla="*/ 3802307 h 5561214"/>
                  <a:gd name="connsiteX510" fmla="*/ 3343422 w 9950334"/>
                  <a:gd name="connsiteY510" fmla="*/ 3891420 h 5561214"/>
                  <a:gd name="connsiteX511" fmla="*/ 3304436 w 9950334"/>
                  <a:gd name="connsiteY511" fmla="*/ 3876207 h 5561214"/>
                  <a:gd name="connsiteX512" fmla="*/ 3294045 w 9950334"/>
                  <a:gd name="connsiteY512" fmla="*/ 3881777 h 5561214"/>
                  <a:gd name="connsiteX513" fmla="*/ 3092212 w 9950334"/>
                  <a:gd name="connsiteY513" fmla="*/ 3703801 h 5561214"/>
                  <a:gd name="connsiteX514" fmla="*/ 3080346 w 9950334"/>
                  <a:gd name="connsiteY514" fmla="*/ 3634271 h 5561214"/>
                  <a:gd name="connsiteX515" fmla="*/ 3010815 w 9950334"/>
                  <a:gd name="connsiteY515" fmla="*/ 3646136 h 5561214"/>
                  <a:gd name="connsiteX516" fmla="*/ 3002434 w 9950334"/>
                  <a:gd name="connsiteY516" fmla="*/ 3683851 h 5561214"/>
                  <a:gd name="connsiteX517" fmla="*/ 2757126 w 9950334"/>
                  <a:gd name="connsiteY517" fmla="*/ 3766479 h 5561214"/>
                  <a:gd name="connsiteX518" fmla="*/ 2698206 w 9950334"/>
                  <a:gd name="connsiteY518" fmla="*/ 3747711 h 5561214"/>
                  <a:gd name="connsiteX519" fmla="*/ 2679438 w 9950334"/>
                  <a:gd name="connsiteY519" fmla="*/ 3806630 h 5561214"/>
                  <a:gd name="connsiteX520" fmla="*/ 2702927 w 9950334"/>
                  <a:gd name="connsiteY520" fmla="*/ 3827495 h 5561214"/>
                  <a:gd name="connsiteX521" fmla="*/ 2648146 w 9950334"/>
                  <a:gd name="connsiteY521" fmla="*/ 4099238 h 5561214"/>
                  <a:gd name="connsiteX522" fmla="*/ 2636175 w 9950334"/>
                  <a:gd name="connsiteY522" fmla="*/ 4100568 h 5561214"/>
                  <a:gd name="connsiteX523" fmla="*/ 2615144 w 9950334"/>
                  <a:gd name="connsiteY523" fmla="*/ 4136479 h 5561214"/>
                  <a:gd name="connsiteX524" fmla="*/ 2349137 w 9950334"/>
                  <a:gd name="connsiteY524" fmla="*/ 4226007 h 5561214"/>
                  <a:gd name="connsiteX525" fmla="*/ 2296351 w 9950334"/>
                  <a:gd name="connsiteY525" fmla="*/ 4202565 h 5561214"/>
                  <a:gd name="connsiteX526" fmla="*/ 2279726 w 9950334"/>
                  <a:gd name="connsiteY526" fmla="*/ 4212790 h 5561214"/>
                  <a:gd name="connsiteX527" fmla="*/ 2080719 w 9950334"/>
                  <a:gd name="connsiteY527" fmla="*/ 4038555 h 5561214"/>
                  <a:gd name="connsiteX528" fmla="*/ 2072557 w 9950334"/>
                  <a:gd name="connsiteY528" fmla="*/ 3977260 h 5561214"/>
                  <a:gd name="connsiteX529" fmla="*/ 2011262 w 9950334"/>
                  <a:gd name="connsiteY529" fmla="*/ 3985421 h 5561214"/>
                  <a:gd name="connsiteX530" fmla="*/ 2003411 w 9950334"/>
                  <a:gd name="connsiteY530" fmla="*/ 4021930 h 5561214"/>
                  <a:gd name="connsiteX531" fmla="*/ 1739482 w 9950334"/>
                  <a:gd name="connsiteY531" fmla="*/ 4111457 h 5561214"/>
                  <a:gd name="connsiteX532" fmla="*/ 1698317 w 9950334"/>
                  <a:gd name="connsiteY532" fmla="*/ 4097045 h 5561214"/>
                  <a:gd name="connsiteX533" fmla="*/ 1690187 w 9950334"/>
                  <a:gd name="connsiteY533" fmla="*/ 4102729 h 5561214"/>
                  <a:gd name="connsiteX534" fmla="*/ 1486027 w 9950334"/>
                  <a:gd name="connsiteY534" fmla="*/ 3924005 h 5561214"/>
                  <a:gd name="connsiteX535" fmla="*/ 1475948 w 9950334"/>
                  <a:gd name="connsiteY535" fmla="*/ 3854193 h 5561214"/>
                  <a:gd name="connsiteX536" fmla="*/ 1459841 w 9950334"/>
                  <a:gd name="connsiteY536" fmla="*/ 3846198 h 5561214"/>
                  <a:gd name="connsiteX537" fmla="*/ 1512710 w 9950334"/>
                  <a:gd name="connsiteY537" fmla="*/ 3579027 h 5561214"/>
                  <a:gd name="connsiteX538" fmla="*/ 1522769 w 9950334"/>
                  <a:gd name="connsiteY538" fmla="*/ 3577697 h 5561214"/>
                  <a:gd name="connsiteX539" fmla="*/ 1542358 w 9950334"/>
                  <a:gd name="connsiteY539" fmla="*/ 3538204 h 5561214"/>
                  <a:gd name="connsiteX540" fmla="*/ 1503982 w 9950334"/>
                  <a:gd name="connsiteY540" fmla="*/ 3518262 h 5561214"/>
                  <a:gd name="connsiteX541" fmla="*/ 1493092 w 9950334"/>
                  <a:gd name="connsiteY541" fmla="*/ 3524247 h 5561214"/>
                  <a:gd name="connsiteX542" fmla="*/ 1276961 w 9950334"/>
                  <a:gd name="connsiteY542" fmla="*/ 3334717 h 5561214"/>
                  <a:gd name="connsiteX543" fmla="*/ 1281533 w 9950334"/>
                  <a:gd name="connsiteY543" fmla="*/ 3305788 h 5561214"/>
                  <a:gd name="connsiteX544" fmla="*/ 1238954 w 9950334"/>
                  <a:gd name="connsiteY544" fmla="*/ 3285833 h 5561214"/>
                  <a:gd name="connsiteX545" fmla="*/ 1217442 w 9950334"/>
                  <a:gd name="connsiteY545" fmla="*/ 3322414 h 5561214"/>
                  <a:gd name="connsiteX546" fmla="*/ 955093 w 9950334"/>
                  <a:gd name="connsiteY546" fmla="*/ 3411942 h 5561214"/>
                  <a:gd name="connsiteX547" fmla="*/ 903138 w 9950334"/>
                  <a:gd name="connsiteY547" fmla="*/ 3390329 h 5561214"/>
                  <a:gd name="connsiteX548" fmla="*/ 874542 w 9950334"/>
                  <a:gd name="connsiteY548" fmla="*/ 3445359 h 5561214"/>
                  <a:gd name="connsiteX549" fmla="*/ 902224 w 9950334"/>
                  <a:gd name="connsiteY549" fmla="*/ 3473456 h 5561214"/>
                  <a:gd name="connsiteX550" fmla="*/ 848523 w 9950334"/>
                  <a:gd name="connsiteY550" fmla="*/ 3745116 h 5561214"/>
                  <a:gd name="connsiteX551" fmla="*/ 837717 w 9950334"/>
                  <a:gd name="connsiteY551" fmla="*/ 3746446 h 5561214"/>
                  <a:gd name="connsiteX552" fmla="*/ 817434 w 9950334"/>
                  <a:gd name="connsiteY552" fmla="*/ 3785599 h 5561214"/>
                  <a:gd name="connsiteX553" fmla="*/ 856587 w 9950334"/>
                  <a:gd name="connsiteY553" fmla="*/ 3805965 h 5561214"/>
                  <a:gd name="connsiteX554" fmla="*/ 867476 w 9950334"/>
                  <a:gd name="connsiteY554" fmla="*/ 3799814 h 5561214"/>
                  <a:gd name="connsiteX555" fmla="*/ 1075295 w 9950334"/>
                  <a:gd name="connsiteY555" fmla="*/ 3981530 h 5561214"/>
                  <a:gd name="connsiteX556" fmla="*/ 1085686 w 9950334"/>
                  <a:gd name="connsiteY556" fmla="*/ 4042129 h 5561214"/>
                  <a:gd name="connsiteX557" fmla="*/ 1099485 w 9950334"/>
                  <a:gd name="connsiteY557" fmla="*/ 4048614 h 5561214"/>
                  <a:gd name="connsiteX558" fmla="*/ 1047696 w 9950334"/>
                  <a:gd name="connsiteY558" fmla="*/ 4309883 h 5561214"/>
                  <a:gd name="connsiteX559" fmla="*/ 1031819 w 9950334"/>
                  <a:gd name="connsiteY559" fmla="*/ 4311794 h 5561214"/>
                  <a:gd name="connsiteX560" fmla="*/ 1002475 w 9950334"/>
                  <a:gd name="connsiteY560" fmla="*/ 4363084 h 5561214"/>
                  <a:gd name="connsiteX561" fmla="*/ 748106 w 9950334"/>
                  <a:gd name="connsiteY561" fmla="*/ 4449786 h 5561214"/>
                  <a:gd name="connsiteX562" fmla="*/ 695237 w 9950334"/>
                  <a:gd name="connsiteY562" fmla="*/ 4426011 h 5561214"/>
                  <a:gd name="connsiteX563" fmla="*/ 678611 w 9950334"/>
                  <a:gd name="connsiteY563" fmla="*/ 4435654 h 5561214"/>
                  <a:gd name="connsiteX564" fmla="*/ 473869 w 9950334"/>
                  <a:gd name="connsiteY564" fmla="*/ 4256431 h 5561214"/>
                  <a:gd name="connsiteX565" fmla="*/ 477859 w 9950334"/>
                  <a:gd name="connsiteY565" fmla="*/ 4225841 h 5561214"/>
                  <a:gd name="connsiteX566" fmla="*/ 431813 w 9950334"/>
                  <a:gd name="connsiteY566" fmla="*/ 4201762 h 5561214"/>
                  <a:gd name="connsiteX567" fmla="*/ 431640 w 9950334"/>
                  <a:gd name="connsiteY567" fmla="*/ 4201817 h 5561214"/>
                  <a:gd name="connsiteX568" fmla="*/ 406702 w 9950334"/>
                  <a:gd name="connsiteY568" fmla="*/ 4244129 h 5561214"/>
                  <a:gd name="connsiteX569" fmla="*/ 138201 w 9950334"/>
                  <a:gd name="connsiteY569" fmla="*/ 4335569 h 5561214"/>
                  <a:gd name="connsiteX570" fmla="*/ 101625 w 9950334"/>
                  <a:gd name="connsiteY570" fmla="*/ 4321188 h 5561214"/>
                  <a:gd name="connsiteX571" fmla="*/ 81338 w 9950334"/>
                  <a:gd name="connsiteY571" fmla="*/ 4360327 h 5561214"/>
                  <a:gd name="connsiteX572" fmla="*/ 81342 w 9950334"/>
                  <a:gd name="connsiteY572" fmla="*/ 4360340 h 5561214"/>
                  <a:gd name="connsiteX573" fmla="*/ 99796 w 9950334"/>
                  <a:gd name="connsiteY573" fmla="*/ 4379875 h 5561214"/>
                  <a:gd name="connsiteX574" fmla="*/ 45846 w 9950334"/>
                  <a:gd name="connsiteY574" fmla="*/ 4652616 h 5561214"/>
                  <a:gd name="connsiteX575" fmla="*/ 30634 w 9950334"/>
                  <a:gd name="connsiteY575" fmla="*/ 4654445 h 5561214"/>
                  <a:gd name="connsiteX576" fmla="*/ 2038 w 9950334"/>
                  <a:gd name="connsiteY576" fmla="*/ 4709392 h 5561214"/>
                  <a:gd name="connsiteX577" fmla="*/ 56934 w 9950334"/>
                  <a:gd name="connsiteY577" fmla="*/ 4738109 h 5561214"/>
                  <a:gd name="connsiteX578" fmla="*/ 57318 w 9950334"/>
                  <a:gd name="connsiteY578" fmla="*/ 4737988 h 5561214"/>
                  <a:gd name="connsiteX579" fmla="*/ 1244292 w 9950334"/>
                  <a:gd name="connsiteY579" fmla="*/ 4888947 h 5561214"/>
                  <a:gd name="connsiteX580" fmla="*/ 1195305 w 9950334"/>
                  <a:gd name="connsiteY580" fmla="*/ 4925711 h 5561214"/>
                  <a:gd name="connsiteX581" fmla="*/ 1196162 w 9950334"/>
                  <a:gd name="connsiteY581" fmla="*/ 4942315 h 5561214"/>
                  <a:gd name="connsiteX582" fmla="*/ 938467 w 9950334"/>
                  <a:gd name="connsiteY582" fmla="*/ 5029931 h 5561214"/>
                  <a:gd name="connsiteX583" fmla="*/ 896238 w 9950334"/>
                  <a:gd name="connsiteY583" fmla="*/ 5012308 h 5561214"/>
                  <a:gd name="connsiteX584" fmla="*/ 882606 w 9950334"/>
                  <a:gd name="connsiteY584" fmla="*/ 5020621 h 5561214"/>
                  <a:gd name="connsiteX585" fmla="*/ 675868 w 9950334"/>
                  <a:gd name="connsiteY585" fmla="*/ 4839071 h 5561214"/>
                  <a:gd name="connsiteX586" fmla="*/ 682352 w 9950334"/>
                  <a:gd name="connsiteY586" fmla="*/ 4800084 h 5561214"/>
                  <a:gd name="connsiteX587" fmla="*/ 653923 w 9950334"/>
                  <a:gd name="connsiteY587" fmla="*/ 4771738 h 5561214"/>
                  <a:gd name="connsiteX588" fmla="*/ 705461 w 9950334"/>
                  <a:gd name="connsiteY588" fmla="*/ 4511383 h 5561214"/>
                  <a:gd name="connsiteX589" fmla="*/ 722087 w 9950334"/>
                  <a:gd name="connsiteY589" fmla="*/ 4509555 h 5561214"/>
                  <a:gd name="connsiteX590" fmla="*/ 751265 w 9950334"/>
                  <a:gd name="connsiteY590" fmla="*/ 4457600 h 5561214"/>
                  <a:gd name="connsiteX591" fmla="*/ 1005468 w 9950334"/>
                  <a:gd name="connsiteY591" fmla="*/ 4370981 h 5561214"/>
                  <a:gd name="connsiteX592" fmla="*/ 1058586 w 9950334"/>
                  <a:gd name="connsiteY592" fmla="*/ 4395337 h 5561214"/>
                  <a:gd name="connsiteX593" fmla="*/ 1074297 w 9950334"/>
                  <a:gd name="connsiteY593" fmla="*/ 4386359 h 5561214"/>
                  <a:gd name="connsiteX594" fmla="*/ 1270228 w 9950334"/>
                  <a:gd name="connsiteY594" fmla="*/ 4557851 h 5561214"/>
                  <a:gd name="connsiteX595" fmla="*/ 1279040 w 9950334"/>
                  <a:gd name="connsiteY595" fmla="*/ 4565582 h 5561214"/>
                  <a:gd name="connsiteX596" fmla="*/ 1287734 w 9950334"/>
                  <a:gd name="connsiteY596" fmla="*/ 4616453 h 5561214"/>
                  <a:gd name="connsiteX597" fmla="*/ 1297494 w 9950334"/>
                  <a:gd name="connsiteY597" fmla="*/ 4621360 h 5561214"/>
                  <a:gd name="connsiteX598" fmla="*/ 2272577 w 9950334"/>
                  <a:gd name="connsiteY598" fmla="*/ 4611385 h 5561214"/>
                  <a:gd name="connsiteX599" fmla="*/ 2262942 w 9950334"/>
                  <a:gd name="connsiteY599" fmla="*/ 4560564 h 5561214"/>
                  <a:gd name="connsiteX600" fmla="*/ 2252626 w 9950334"/>
                  <a:gd name="connsiteY600" fmla="*/ 4555690 h 5561214"/>
                  <a:gd name="connsiteX601" fmla="*/ 2306576 w 9950334"/>
                  <a:gd name="connsiteY601" fmla="*/ 4287604 h 5561214"/>
                  <a:gd name="connsiteX602" fmla="*/ 2323201 w 9950334"/>
                  <a:gd name="connsiteY602" fmla="*/ 4285776 h 5561214"/>
                  <a:gd name="connsiteX603" fmla="*/ 2352296 w 9950334"/>
                  <a:gd name="connsiteY603" fmla="*/ 4233489 h 5561214"/>
                  <a:gd name="connsiteX604" fmla="*/ 2618303 w 9950334"/>
                  <a:gd name="connsiteY604" fmla="*/ 4144044 h 5561214"/>
                  <a:gd name="connsiteX605" fmla="*/ 2655461 w 9950334"/>
                  <a:gd name="connsiteY605" fmla="*/ 4159672 h 5561214"/>
                  <a:gd name="connsiteX606" fmla="*/ 2665935 w 9950334"/>
                  <a:gd name="connsiteY606" fmla="*/ 4153853 h 5561214"/>
                  <a:gd name="connsiteX607" fmla="*/ 2873753 w 9950334"/>
                  <a:gd name="connsiteY607" fmla="*/ 4337315 h 5561214"/>
                  <a:gd name="connsiteX608" fmla="*/ 2885936 w 9950334"/>
                  <a:gd name="connsiteY608" fmla="*/ 4397819 h 5561214"/>
                  <a:gd name="connsiteX609" fmla="*/ 2897694 w 9950334"/>
                  <a:gd name="connsiteY609" fmla="*/ 4403318 h 5561214"/>
                  <a:gd name="connsiteX610" fmla="*/ 2843578 w 9950334"/>
                  <a:gd name="connsiteY610" fmla="*/ 4671902 h 5561214"/>
                  <a:gd name="connsiteX611" fmla="*/ 2829779 w 9950334"/>
                  <a:gd name="connsiteY611" fmla="*/ 4673398 h 5561214"/>
                  <a:gd name="connsiteX612" fmla="*/ 2804841 w 9950334"/>
                  <a:gd name="connsiteY612" fmla="*/ 4716292 h 5561214"/>
                  <a:gd name="connsiteX613" fmla="*/ 2533264 w 9950334"/>
                  <a:gd name="connsiteY613" fmla="*/ 4807732 h 5561214"/>
                  <a:gd name="connsiteX614" fmla="*/ 2490911 w 9950334"/>
                  <a:gd name="connsiteY614" fmla="*/ 4797315 h 5561214"/>
                  <a:gd name="connsiteX615" fmla="*/ 2487045 w 9950334"/>
                  <a:gd name="connsiteY615" fmla="*/ 4800083 h 5561214"/>
                  <a:gd name="connsiteX616" fmla="*/ 3207011 w 9950334"/>
                  <a:gd name="connsiteY616" fmla="*/ 4268485 h 5561214"/>
                  <a:gd name="connsiteX617" fmla="*/ 3264264 w 9950334"/>
                  <a:gd name="connsiteY617" fmla="*/ 4290898 h 5561214"/>
                  <a:gd name="connsiteX618" fmla="*/ 3275092 w 9950334"/>
                  <a:gd name="connsiteY618" fmla="*/ 4284113 h 5561214"/>
                  <a:gd name="connsiteX619" fmla="*/ 3478670 w 9950334"/>
                  <a:gd name="connsiteY619" fmla="*/ 4462920 h 5561214"/>
                  <a:gd name="connsiteX620" fmla="*/ 3487462 w 9950334"/>
                  <a:gd name="connsiteY620" fmla="*/ 4513774 h 5561214"/>
                  <a:gd name="connsiteX621" fmla="*/ 3497873 w 9950334"/>
                  <a:gd name="connsiteY621" fmla="*/ 4518865 h 5561214"/>
                  <a:gd name="connsiteX622" fmla="*/ 3443757 w 9950334"/>
                  <a:gd name="connsiteY622" fmla="*/ 4787448 h 5561214"/>
                  <a:gd name="connsiteX623" fmla="*/ 3428794 w 9950334"/>
                  <a:gd name="connsiteY623" fmla="*/ 4789194 h 5561214"/>
                  <a:gd name="connsiteX624" fmla="*/ 3399201 w 9950334"/>
                  <a:gd name="connsiteY624" fmla="*/ 4839071 h 5561214"/>
                  <a:gd name="connsiteX625" fmla="*/ 3135272 w 9950334"/>
                  <a:gd name="connsiteY625" fmla="*/ 4927851 h 5561214"/>
                  <a:gd name="connsiteX626" fmla="*/ 3098114 w 9950334"/>
                  <a:gd name="connsiteY626" fmla="*/ 4912223 h 5561214"/>
                  <a:gd name="connsiteX627" fmla="*/ 3086892 w 9950334"/>
                  <a:gd name="connsiteY627" fmla="*/ 4918707 h 5561214"/>
                  <a:gd name="connsiteX628" fmla="*/ 2871343 w 9950334"/>
                  <a:gd name="connsiteY628" fmla="*/ 4728761 h 5561214"/>
                  <a:gd name="connsiteX629" fmla="*/ 2861782 w 9950334"/>
                  <a:gd name="connsiteY629" fmla="*/ 4677806 h 5561214"/>
                  <a:gd name="connsiteX630" fmla="*/ 2851725 w 9950334"/>
                  <a:gd name="connsiteY630" fmla="*/ 4672983 h 5561214"/>
                  <a:gd name="connsiteX631" fmla="*/ 2905924 w 9950334"/>
                  <a:gd name="connsiteY631" fmla="*/ 4404481 h 5561214"/>
                  <a:gd name="connsiteX632" fmla="*/ 2953560 w 9950334"/>
                  <a:gd name="connsiteY632" fmla="*/ 4365423 h 5561214"/>
                  <a:gd name="connsiteX633" fmla="*/ 2953057 w 9950334"/>
                  <a:gd name="connsiteY633" fmla="*/ 4353274 h 5561214"/>
                  <a:gd name="connsiteX634" fmla="*/ 2467178 w 9950334"/>
                  <a:gd name="connsiteY634" fmla="*/ 5188039 h 5561214"/>
                  <a:gd name="connsiteX635" fmla="*/ 2459875 w 9950334"/>
                  <a:gd name="connsiteY635" fmla="*/ 5136712 h 5561214"/>
                  <a:gd name="connsiteX636" fmla="*/ 2448724 w 9950334"/>
                  <a:gd name="connsiteY636" fmla="*/ 5131014 h 5561214"/>
                  <a:gd name="connsiteX637" fmla="*/ 2504252 w 9950334"/>
                  <a:gd name="connsiteY637" fmla="*/ 4855447 h 5561214"/>
                  <a:gd name="connsiteX638" fmla="*/ 2516140 w 9950334"/>
                  <a:gd name="connsiteY638" fmla="*/ 4854199 h 5561214"/>
                  <a:gd name="connsiteX639" fmla="*/ 2536755 w 9950334"/>
                  <a:gd name="connsiteY639" fmla="*/ 4816293 h 5561214"/>
                  <a:gd name="connsiteX640" fmla="*/ 2807584 w 9950334"/>
                  <a:gd name="connsiteY640" fmla="*/ 4724854 h 5561214"/>
                  <a:gd name="connsiteX641" fmla="*/ 2851725 w 9950334"/>
                  <a:gd name="connsiteY641" fmla="*/ 4743807 h 5561214"/>
                  <a:gd name="connsiteX642" fmla="*/ 2865690 w 9950334"/>
                  <a:gd name="connsiteY642" fmla="*/ 4735494 h 5561214"/>
                  <a:gd name="connsiteX643" fmla="*/ 3081156 w 9950334"/>
                  <a:gd name="connsiteY643" fmla="*/ 4925440 h 5561214"/>
                  <a:gd name="connsiteX644" fmla="*/ 3089895 w 9950334"/>
                  <a:gd name="connsiteY644" fmla="*/ 4968170 h 5561214"/>
                  <a:gd name="connsiteX645" fmla="*/ 3095454 w 9950334"/>
                  <a:gd name="connsiteY645" fmla="*/ 4971077 h 5561214"/>
                  <a:gd name="connsiteX646" fmla="*/ 3038595 w 9950334"/>
                  <a:gd name="connsiteY646" fmla="*/ 5252961 h 5561214"/>
                  <a:gd name="connsiteX647" fmla="*/ 3025128 w 9950334"/>
                  <a:gd name="connsiteY647" fmla="*/ 5254541 h 5561214"/>
                  <a:gd name="connsiteX648" fmla="*/ 3000190 w 9950334"/>
                  <a:gd name="connsiteY648" fmla="*/ 5295273 h 5561214"/>
                  <a:gd name="connsiteX649" fmla="*/ 2742994 w 9950334"/>
                  <a:gd name="connsiteY649" fmla="*/ 5381808 h 5561214"/>
                  <a:gd name="connsiteX650" fmla="*/ 2686529 w 9950334"/>
                  <a:gd name="connsiteY650" fmla="*/ 5358693 h 5561214"/>
                  <a:gd name="connsiteX651" fmla="*/ 2672336 w 9950334"/>
                  <a:gd name="connsiteY651" fmla="*/ 5368342 h 5561214"/>
                  <a:gd name="connsiteX652" fmla="*/ 3636612 w 9950334"/>
                  <a:gd name="connsiteY652" fmla="*/ 5378068 h 5561214"/>
                  <a:gd name="connsiteX653" fmla="*/ 3626471 w 9950334"/>
                  <a:gd name="connsiteY653" fmla="*/ 5379398 h 5561214"/>
                  <a:gd name="connsiteX654" fmla="*/ 3605356 w 9950334"/>
                  <a:gd name="connsiteY654" fmla="*/ 5414644 h 5561214"/>
                  <a:gd name="connsiteX655" fmla="*/ 3341510 w 9950334"/>
                  <a:gd name="connsiteY655" fmla="*/ 5503424 h 5561214"/>
                  <a:gd name="connsiteX656" fmla="*/ 3285363 w 9950334"/>
                  <a:gd name="connsiteY656" fmla="*/ 5478951 h 5561214"/>
                  <a:gd name="connsiteX657" fmla="*/ 3269854 w 9950334"/>
                  <a:gd name="connsiteY657" fmla="*/ 5489375 h 5561214"/>
                  <a:gd name="connsiteX658" fmla="*/ 3066608 w 9950334"/>
                  <a:gd name="connsiteY658" fmla="*/ 5310236 h 5561214"/>
                  <a:gd name="connsiteX659" fmla="*/ 3056809 w 9950334"/>
                  <a:gd name="connsiteY659" fmla="*/ 5259327 h 5561214"/>
                  <a:gd name="connsiteX660" fmla="*/ 3047240 w 9950334"/>
                  <a:gd name="connsiteY660" fmla="*/ 5254707 h 5561214"/>
                  <a:gd name="connsiteX661" fmla="*/ 3103933 w 9950334"/>
                  <a:gd name="connsiteY661" fmla="*/ 4973571 h 5561214"/>
                  <a:gd name="connsiteX662" fmla="*/ 3116734 w 9950334"/>
                  <a:gd name="connsiteY662" fmla="*/ 4972323 h 5561214"/>
                  <a:gd name="connsiteX663" fmla="*/ 3137765 w 9950334"/>
                  <a:gd name="connsiteY663" fmla="*/ 4936412 h 5561214"/>
                  <a:gd name="connsiteX664" fmla="*/ 3401362 w 9950334"/>
                  <a:gd name="connsiteY664" fmla="*/ 4847383 h 5561214"/>
                  <a:gd name="connsiteX665" fmla="*/ 3454979 w 9950334"/>
                  <a:gd name="connsiteY665" fmla="*/ 4872322 h 5561214"/>
                  <a:gd name="connsiteX666" fmla="*/ 3470358 w 9950334"/>
                  <a:gd name="connsiteY666" fmla="*/ 4864009 h 5561214"/>
                  <a:gd name="connsiteX667" fmla="*/ 3670694 w 9950334"/>
                  <a:gd name="connsiteY667" fmla="*/ 5040239 h 5561214"/>
                  <a:gd name="connsiteX668" fmla="*/ 3681216 w 9950334"/>
                  <a:gd name="connsiteY668" fmla="*/ 5100577 h 5561214"/>
                  <a:gd name="connsiteX669" fmla="*/ 3691726 w 9950334"/>
                  <a:gd name="connsiteY669" fmla="*/ 5105992 h 5561214"/>
                  <a:gd name="connsiteX670" fmla="*/ 5272474 w 9950334"/>
                  <a:gd name="connsiteY670" fmla="*/ 4824856 h 5561214"/>
                  <a:gd name="connsiteX671" fmla="*/ 5276955 w 9950334"/>
                  <a:gd name="connsiteY671" fmla="*/ 4879219 h 5561214"/>
                  <a:gd name="connsiteX672" fmla="*/ 5291843 w 9950334"/>
                  <a:gd name="connsiteY672" fmla="*/ 4887035 h 5561214"/>
                  <a:gd name="connsiteX673" fmla="*/ 5236646 w 9950334"/>
                  <a:gd name="connsiteY673" fmla="*/ 5161355 h 5561214"/>
                  <a:gd name="connsiteX674" fmla="*/ 5224842 w 9950334"/>
                  <a:gd name="connsiteY674" fmla="*/ 5162768 h 5561214"/>
                  <a:gd name="connsiteX675" fmla="*/ 5202564 w 9950334"/>
                  <a:gd name="connsiteY675" fmla="*/ 5199510 h 5561214"/>
                  <a:gd name="connsiteX676" fmla="*/ 4934146 w 9950334"/>
                  <a:gd name="connsiteY676" fmla="*/ 5289870 h 5561214"/>
                  <a:gd name="connsiteX677" fmla="*/ 4886767 w 9950334"/>
                  <a:gd name="connsiteY677" fmla="*/ 5269705 h 5561214"/>
                  <a:gd name="connsiteX678" fmla="*/ 4874627 w 9950334"/>
                  <a:gd name="connsiteY678" fmla="*/ 5277733 h 5561214"/>
                  <a:gd name="connsiteX679" fmla="*/ 4660325 w 9950334"/>
                  <a:gd name="connsiteY679" fmla="*/ 5088452 h 5561214"/>
                  <a:gd name="connsiteX680" fmla="*/ 4654198 w 9950334"/>
                  <a:gd name="connsiteY680" fmla="*/ 5045270 h 5561214"/>
                  <a:gd name="connsiteX681" fmla="*/ 4646775 w 9950334"/>
                  <a:gd name="connsiteY681" fmla="*/ 5041153 h 5561214"/>
                  <a:gd name="connsiteX682" fmla="*/ 4701805 w 9950334"/>
                  <a:gd name="connsiteY682" fmla="*/ 4768080 h 5561214"/>
                  <a:gd name="connsiteX683" fmla="*/ 4718929 w 9950334"/>
                  <a:gd name="connsiteY683" fmla="*/ 4766252 h 5561214"/>
                  <a:gd name="connsiteX684" fmla="*/ 4748523 w 9950334"/>
                  <a:gd name="connsiteY684" fmla="*/ 4716375 h 5561214"/>
                  <a:gd name="connsiteX685" fmla="*/ 5011787 w 9950334"/>
                  <a:gd name="connsiteY685" fmla="*/ 4627761 h 5561214"/>
                  <a:gd name="connsiteX686" fmla="*/ 5048446 w 9950334"/>
                  <a:gd name="connsiteY686" fmla="*/ 4642309 h 5561214"/>
                  <a:gd name="connsiteX687" fmla="*/ 5059003 w 9950334"/>
                  <a:gd name="connsiteY687" fmla="*/ 4636490 h 5561214"/>
                  <a:gd name="connsiteX688" fmla="*/ 4669469 w 9950334"/>
                  <a:gd name="connsiteY688" fmla="*/ 4700165 h 5561214"/>
                  <a:gd name="connsiteX689" fmla="*/ 4680748 w 9950334"/>
                  <a:gd name="connsiteY689" fmla="*/ 4760844 h 5561214"/>
                  <a:gd name="connsiteX690" fmla="*/ 4692911 w 9950334"/>
                  <a:gd name="connsiteY690" fmla="*/ 4766667 h 5561214"/>
                  <a:gd name="connsiteX691" fmla="*/ 4637963 w 9950334"/>
                  <a:gd name="connsiteY691" fmla="*/ 5039241 h 5561214"/>
                  <a:gd name="connsiteX692" fmla="*/ 4625660 w 9950334"/>
                  <a:gd name="connsiteY692" fmla="*/ 5040571 h 5561214"/>
                  <a:gd name="connsiteX693" fmla="*/ 4605128 w 9950334"/>
                  <a:gd name="connsiteY693" fmla="*/ 5078394 h 5561214"/>
                  <a:gd name="connsiteX694" fmla="*/ 4335629 w 9950334"/>
                  <a:gd name="connsiteY694" fmla="*/ 5169086 h 5561214"/>
                  <a:gd name="connsiteX695" fmla="*/ 4289006 w 9950334"/>
                  <a:gd name="connsiteY695" fmla="*/ 5146957 h 5561214"/>
                  <a:gd name="connsiteX696" fmla="*/ 4275113 w 9950334"/>
                  <a:gd name="connsiteY696" fmla="*/ 5155869 h 5561214"/>
                  <a:gd name="connsiteX697" fmla="*/ 4068874 w 9950334"/>
                  <a:gd name="connsiteY697" fmla="*/ 4973903 h 5561214"/>
                  <a:gd name="connsiteX698" fmla="*/ 4060238 w 9950334"/>
                  <a:gd name="connsiteY698" fmla="*/ 4922545 h 5561214"/>
                  <a:gd name="connsiteX699" fmla="*/ 4048674 w 9950334"/>
                  <a:gd name="connsiteY699" fmla="*/ 4917044 h 5561214"/>
                  <a:gd name="connsiteX700" fmla="*/ 4104785 w 9950334"/>
                  <a:gd name="connsiteY700" fmla="*/ 4638983 h 5561214"/>
                  <a:gd name="connsiteX701" fmla="*/ 4114760 w 9950334"/>
                  <a:gd name="connsiteY701" fmla="*/ 4637653 h 5561214"/>
                  <a:gd name="connsiteX702" fmla="*/ 4135459 w 9950334"/>
                  <a:gd name="connsiteY702" fmla="*/ 4600246 h 5561214"/>
                  <a:gd name="connsiteX703" fmla="*/ 4412190 w 9950334"/>
                  <a:gd name="connsiteY703" fmla="*/ 4507144 h 5561214"/>
                  <a:gd name="connsiteX704" fmla="*/ 4452112 w 9950334"/>
                  <a:gd name="connsiteY704" fmla="*/ 4524412 h 5561214"/>
                  <a:gd name="connsiteX705" fmla="*/ 4462565 w 9950334"/>
                  <a:gd name="connsiteY705" fmla="*/ 4517534 h 5561214"/>
                  <a:gd name="connsiteX706" fmla="*/ 4081759 w 9950334"/>
                  <a:gd name="connsiteY706" fmla="*/ 4588026 h 5561214"/>
                  <a:gd name="connsiteX707" fmla="*/ 4085311 w 9950334"/>
                  <a:gd name="connsiteY707" fmla="*/ 4631850 h 5561214"/>
                  <a:gd name="connsiteX708" fmla="*/ 4096389 w 9950334"/>
                  <a:gd name="connsiteY708" fmla="*/ 4637903 h 5561214"/>
                  <a:gd name="connsiteX709" fmla="*/ 4040278 w 9950334"/>
                  <a:gd name="connsiteY709" fmla="*/ 4916130 h 5561214"/>
                  <a:gd name="connsiteX710" fmla="*/ 4028142 w 9950334"/>
                  <a:gd name="connsiteY710" fmla="*/ 4917626 h 5561214"/>
                  <a:gd name="connsiteX711" fmla="*/ 4003203 w 9950334"/>
                  <a:gd name="connsiteY711" fmla="*/ 4959190 h 5561214"/>
                  <a:gd name="connsiteX712" fmla="*/ 3745509 w 9950334"/>
                  <a:gd name="connsiteY712" fmla="*/ 5045891 h 5561214"/>
                  <a:gd name="connsiteX713" fmla="*/ 3687497 w 9950334"/>
                  <a:gd name="connsiteY713" fmla="*/ 5026245 h 5561214"/>
                  <a:gd name="connsiteX714" fmla="*/ 3676680 w 9950334"/>
                  <a:gd name="connsiteY714" fmla="*/ 5033838 h 5561214"/>
                  <a:gd name="connsiteX715" fmla="*/ 3477174 w 9950334"/>
                  <a:gd name="connsiteY715" fmla="*/ 4857774 h 5561214"/>
                  <a:gd name="connsiteX716" fmla="*/ 3468700 w 9950334"/>
                  <a:gd name="connsiteY716" fmla="*/ 4796877 h 5561214"/>
                  <a:gd name="connsiteX717" fmla="*/ 3452236 w 9950334"/>
                  <a:gd name="connsiteY717" fmla="*/ 4789194 h 5561214"/>
                  <a:gd name="connsiteX718" fmla="*/ 3506269 w 9950334"/>
                  <a:gd name="connsiteY718" fmla="*/ 4521109 h 5561214"/>
                  <a:gd name="connsiteX719" fmla="*/ 3545733 w 9950334"/>
                  <a:gd name="connsiteY719" fmla="*/ 4487489 h 5561214"/>
                  <a:gd name="connsiteX720" fmla="*/ 3545172 w 9950334"/>
                  <a:gd name="connsiteY720" fmla="*/ 4477550 h 5561214"/>
                  <a:gd name="connsiteX721" fmla="*/ 3816417 w 9950334"/>
                  <a:gd name="connsiteY721" fmla="*/ 4386110 h 5561214"/>
                  <a:gd name="connsiteX722" fmla="*/ 3853574 w 9950334"/>
                  <a:gd name="connsiteY722" fmla="*/ 4402071 h 5561214"/>
                  <a:gd name="connsiteX723" fmla="*/ 3864131 w 9950334"/>
                  <a:gd name="connsiteY723" fmla="*/ 4396252 h 5561214"/>
                  <a:gd name="connsiteX724" fmla="*/ 3845428 w 9950334"/>
                  <a:gd name="connsiteY724" fmla="*/ 4340806 h 5561214"/>
                  <a:gd name="connsiteX725" fmla="*/ 3834206 w 9950334"/>
                  <a:gd name="connsiteY725" fmla="*/ 4342053 h 5561214"/>
                  <a:gd name="connsiteX726" fmla="*/ 3813174 w 9950334"/>
                  <a:gd name="connsiteY726" fmla="*/ 4377714 h 5561214"/>
                  <a:gd name="connsiteX727" fmla="*/ 3556311 w 9950334"/>
                  <a:gd name="connsiteY727" fmla="*/ 4464167 h 5561214"/>
                  <a:gd name="connsiteX728" fmla="*/ 3542180 w 9950334"/>
                  <a:gd name="connsiteY728" fmla="*/ 4468905 h 5561214"/>
                  <a:gd name="connsiteX729" fmla="*/ 3497457 w 9950334"/>
                  <a:gd name="connsiteY729" fmla="*/ 4448538 h 5561214"/>
                  <a:gd name="connsiteX730" fmla="*/ 3483741 w 9950334"/>
                  <a:gd name="connsiteY730" fmla="*/ 4456851 h 5561214"/>
                  <a:gd name="connsiteX731" fmla="*/ 3280911 w 9950334"/>
                  <a:gd name="connsiteY731" fmla="*/ 4278045 h 5561214"/>
                  <a:gd name="connsiteX732" fmla="*/ 3274361 w 9950334"/>
                  <a:gd name="connsiteY732" fmla="*/ 4216675 h 5561214"/>
                  <a:gd name="connsiteX733" fmla="*/ 3257884 w 9950334"/>
                  <a:gd name="connsiteY733" fmla="*/ 4208384 h 5561214"/>
                  <a:gd name="connsiteX734" fmla="*/ 3311834 w 9950334"/>
                  <a:gd name="connsiteY734" fmla="*/ 3940880 h 5561214"/>
                  <a:gd name="connsiteX735" fmla="*/ 3347484 w 9950334"/>
                  <a:gd name="connsiteY735" fmla="*/ 3910217 h 5561214"/>
                  <a:gd name="connsiteX736" fmla="*/ 3346498 w 9950334"/>
                  <a:gd name="connsiteY736" fmla="*/ 3899317 h 5561214"/>
                  <a:gd name="connsiteX737" fmla="*/ 3609513 w 9950334"/>
                  <a:gd name="connsiteY737" fmla="*/ 3810786 h 5561214"/>
                  <a:gd name="connsiteX738" fmla="*/ 3661717 w 9950334"/>
                  <a:gd name="connsiteY738" fmla="*/ 3833064 h 5561214"/>
                  <a:gd name="connsiteX739" fmla="*/ 3676679 w 9950334"/>
                  <a:gd name="connsiteY739" fmla="*/ 3824751 h 5561214"/>
                  <a:gd name="connsiteX740" fmla="*/ 3885994 w 9950334"/>
                  <a:gd name="connsiteY740" fmla="*/ 4008712 h 5561214"/>
                  <a:gd name="connsiteX741" fmla="*/ 3892239 w 9950334"/>
                  <a:gd name="connsiteY741" fmla="*/ 4055319 h 5561214"/>
                  <a:gd name="connsiteX742" fmla="*/ 3902619 w 9950334"/>
                  <a:gd name="connsiteY742" fmla="*/ 4060667 h 5561214"/>
                  <a:gd name="connsiteX743" fmla="*/ 5483035 w 9950334"/>
                  <a:gd name="connsiteY743" fmla="*/ 3787178 h 5561214"/>
                  <a:gd name="connsiteX744" fmla="*/ 5491533 w 9950334"/>
                  <a:gd name="connsiteY744" fmla="*/ 3840941 h 5561214"/>
                  <a:gd name="connsiteX745" fmla="*/ 5502903 w 9950334"/>
                  <a:gd name="connsiteY745" fmla="*/ 3846614 h 5561214"/>
                  <a:gd name="connsiteX746" fmla="*/ 5446542 w 9950334"/>
                  <a:gd name="connsiteY746" fmla="*/ 4124176 h 5561214"/>
                  <a:gd name="connsiteX747" fmla="*/ 5434405 w 9950334"/>
                  <a:gd name="connsiteY747" fmla="*/ 4125506 h 5561214"/>
                  <a:gd name="connsiteX748" fmla="*/ 5413374 w 9950334"/>
                  <a:gd name="connsiteY748" fmla="*/ 4161167 h 5561214"/>
                  <a:gd name="connsiteX749" fmla="*/ 5150609 w 9950334"/>
                  <a:gd name="connsiteY749" fmla="*/ 4249532 h 5561214"/>
                  <a:gd name="connsiteX750" fmla="*/ 5095126 w 9950334"/>
                  <a:gd name="connsiteY750" fmla="*/ 4223869 h 5561214"/>
                  <a:gd name="connsiteX751" fmla="*/ 5078954 w 9950334"/>
                  <a:gd name="connsiteY751" fmla="*/ 4234403 h 5561214"/>
                  <a:gd name="connsiteX752" fmla="*/ 4872216 w 9950334"/>
                  <a:gd name="connsiteY752" fmla="*/ 4052188 h 5561214"/>
                  <a:gd name="connsiteX753" fmla="*/ 4866772 w 9950334"/>
                  <a:gd name="connsiteY753" fmla="*/ 4008441 h 5561214"/>
                  <a:gd name="connsiteX754" fmla="*/ 4856172 w 9950334"/>
                  <a:gd name="connsiteY754" fmla="*/ 4003060 h 5561214"/>
                  <a:gd name="connsiteX755" fmla="*/ 4913530 w 9950334"/>
                  <a:gd name="connsiteY755" fmla="*/ 3718349 h 5561214"/>
                  <a:gd name="connsiteX756" fmla="*/ 4945165 w 9950334"/>
                  <a:gd name="connsiteY756" fmla="*/ 3689011 h 5561214"/>
                  <a:gd name="connsiteX757" fmla="*/ 4944786 w 9950334"/>
                  <a:gd name="connsiteY757" fmla="*/ 3682936 h 5561214"/>
                  <a:gd name="connsiteX758" fmla="*/ 5211209 w 9950334"/>
                  <a:gd name="connsiteY758" fmla="*/ 3593242 h 5561214"/>
                  <a:gd name="connsiteX759" fmla="*/ 5263829 w 9950334"/>
                  <a:gd name="connsiteY759" fmla="*/ 3616102 h 5561214"/>
                  <a:gd name="connsiteX760" fmla="*/ 5279207 w 9950334"/>
                  <a:gd name="connsiteY760" fmla="*/ 3607789 h 5561214"/>
                  <a:gd name="connsiteX761" fmla="*/ 5254851 w 9950334"/>
                  <a:gd name="connsiteY761" fmla="*/ 3531063 h 5561214"/>
                  <a:gd name="connsiteX762" fmla="*/ 5207442 w 9950334"/>
                  <a:gd name="connsiteY762" fmla="*/ 3570764 h 5561214"/>
                  <a:gd name="connsiteX763" fmla="*/ 5208715 w 9950334"/>
                  <a:gd name="connsiteY763" fmla="*/ 3585761 h 5561214"/>
                  <a:gd name="connsiteX764" fmla="*/ 4942708 w 9950334"/>
                  <a:gd name="connsiteY764" fmla="*/ 3675289 h 5561214"/>
                  <a:gd name="connsiteX765" fmla="*/ 4904885 w 9950334"/>
                  <a:gd name="connsiteY765" fmla="*/ 3657915 h 5561214"/>
                  <a:gd name="connsiteX766" fmla="*/ 4893829 w 9950334"/>
                  <a:gd name="connsiteY766" fmla="*/ 3664066 h 5561214"/>
                  <a:gd name="connsiteX767" fmla="*/ 4684016 w 9950334"/>
                  <a:gd name="connsiteY767" fmla="*/ 3479274 h 5561214"/>
                  <a:gd name="connsiteX768" fmla="*/ 4674891 w 9950334"/>
                  <a:gd name="connsiteY768" fmla="*/ 3425257 h 5561214"/>
                  <a:gd name="connsiteX769" fmla="*/ 4662818 w 9950334"/>
                  <a:gd name="connsiteY769" fmla="*/ 3419506 h 5561214"/>
                  <a:gd name="connsiteX770" fmla="*/ 4719012 w 9950334"/>
                  <a:gd name="connsiteY770" fmla="*/ 3140531 h 5561214"/>
                  <a:gd name="connsiteX771" fmla="*/ 4730068 w 9950334"/>
                  <a:gd name="connsiteY771" fmla="*/ 3139201 h 5561214"/>
                  <a:gd name="connsiteX772" fmla="*/ 4751099 w 9950334"/>
                  <a:gd name="connsiteY772" fmla="*/ 3103789 h 5561214"/>
                  <a:gd name="connsiteX773" fmla="*/ 5021263 w 9950334"/>
                  <a:gd name="connsiteY773" fmla="*/ 3012847 h 5561214"/>
                  <a:gd name="connsiteX774" fmla="*/ 5067565 w 9950334"/>
                  <a:gd name="connsiteY774" fmla="*/ 3032549 h 5561214"/>
                  <a:gd name="connsiteX775" fmla="*/ 5079785 w 9950334"/>
                  <a:gd name="connsiteY775" fmla="*/ 3025899 h 5561214"/>
                  <a:gd name="connsiteX776" fmla="*/ 5293921 w 9950334"/>
                  <a:gd name="connsiteY776" fmla="*/ 3214681 h 5561214"/>
                  <a:gd name="connsiteX777" fmla="*/ 5303699 w 9950334"/>
                  <a:gd name="connsiteY777" fmla="*/ 3257065 h 5561214"/>
                  <a:gd name="connsiteX778" fmla="*/ 5309300 w 9950334"/>
                  <a:gd name="connsiteY778" fmla="*/ 3259819 h 5561214"/>
                  <a:gd name="connsiteX779" fmla="*/ 7647753 w 9950334"/>
                  <a:gd name="connsiteY779" fmla="*/ 4019269 h 5561214"/>
                  <a:gd name="connsiteX780" fmla="*/ 7630629 w 9950334"/>
                  <a:gd name="connsiteY780" fmla="*/ 4020517 h 5561214"/>
                  <a:gd name="connsiteX781" fmla="*/ 7605192 w 9950334"/>
                  <a:gd name="connsiteY781" fmla="*/ 4068564 h 5561214"/>
                  <a:gd name="connsiteX782" fmla="*/ 7339184 w 9950334"/>
                  <a:gd name="connsiteY782" fmla="*/ 4158009 h 5561214"/>
                  <a:gd name="connsiteX783" fmla="*/ 7298940 w 9950334"/>
                  <a:gd name="connsiteY783" fmla="*/ 4143813 h 5561214"/>
                  <a:gd name="connsiteX784" fmla="*/ 7290139 w 9950334"/>
                  <a:gd name="connsiteY784" fmla="*/ 4150195 h 5561214"/>
                  <a:gd name="connsiteX785" fmla="*/ 7076170 w 9950334"/>
                  <a:gd name="connsiteY785" fmla="*/ 3961579 h 5561214"/>
                  <a:gd name="connsiteX786" fmla="*/ 7068334 w 9950334"/>
                  <a:gd name="connsiteY786" fmla="*/ 3907597 h 5561214"/>
                  <a:gd name="connsiteX787" fmla="*/ 7056884 w 9950334"/>
                  <a:gd name="connsiteY787" fmla="*/ 3901727 h 5561214"/>
                  <a:gd name="connsiteX788" fmla="*/ 7112413 w 9950334"/>
                  <a:gd name="connsiteY788" fmla="*/ 3626161 h 5561214"/>
                  <a:gd name="connsiteX789" fmla="*/ 7123303 w 9950334"/>
                  <a:gd name="connsiteY789" fmla="*/ 3624914 h 5561214"/>
                  <a:gd name="connsiteX790" fmla="*/ 7144001 w 9950334"/>
                  <a:gd name="connsiteY790" fmla="*/ 3587756 h 5561214"/>
                  <a:gd name="connsiteX791" fmla="*/ 7412918 w 9950334"/>
                  <a:gd name="connsiteY791" fmla="*/ 3497230 h 5561214"/>
                  <a:gd name="connsiteX792" fmla="*/ 7463291 w 9950334"/>
                  <a:gd name="connsiteY792" fmla="*/ 3517222 h 5561214"/>
                  <a:gd name="connsiteX793" fmla="*/ 7474183 w 9950334"/>
                  <a:gd name="connsiteY793" fmla="*/ 3510115 h 5561214"/>
                  <a:gd name="connsiteX794" fmla="*/ 7687321 w 9950334"/>
                  <a:gd name="connsiteY794" fmla="*/ 3698066 h 5561214"/>
                  <a:gd name="connsiteX795" fmla="*/ 7685326 w 9950334"/>
                  <a:gd name="connsiteY795" fmla="*/ 3721674 h 5561214"/>
                  <a:gd name="connsiteX796" fmla="*/ 7703531 w 9950334"/>
                  <a:gd name="connsiteY796" fmla="*/ 3741126 h 5561214"/>
                  <a:gd name="connsiteX797" fmla="*/ 8681689 w 9950334"/>
                  <a:gd name="connsiteY797" fmla="*/ 3352838 h 5561214"/>
                  <a:gd name="connsiteX798" fmla="*/ 8691338 w 9950334"/>
                  <a:gd name="connsiteY798" fmla="*/ 3413322 h 5561214"/>
                  <a:gd name="connsiteX799" fmla="*/ 8703053 w 9950334"/>
                  <a:gd name="connsiteY799" fmla="*/ 3419340 h 5561214"/>
                  <a:gd name="connsiteX800" fmla="*/ 8649186 w 9950334"/>
                  <a:gd name="connsiteY800" fmla="*/ 3683020 h 5561214"/>
                  <a:gd name="connsiteX801" fmla="*/ 8605474 w 9950334"/>
                  <a:gd name="connsiteY801" fmla="*/ 3715648 h 5561214"/>
                  <a:gd name="connsiteX802" fmla="*/ 8606542 w 9950334"/>
                  <a:gd name="connsiteY802" fmla="*/ 3731732 h 5561214"/>
                  <a:gd name="connsiteX803" fmla="*/ 8337875 w 9950334"/>
                  <a:gd name="connsiteY803" fmla="*/ 3822174 h 5561214"/>
                  <a:gd name="connsiteX804" fmla="*/ 8300218 w 9950334"/>
                  <a:gd name="connsiteY804" fmla="*/ 3805549 h 5561214"/>
                  <a:gd name="connsiteX805" fmla="*/ 8289495 w 9950334"/>
                  <a:gd name="connsiteY805" fmla="*/ 3811451 h 5561214"/>
                  <a:gd name="connsiteX806" fmla="*/ 8080762 w 9950334"/>
                  <a:gd name="connsiteY806" fmla="*/ 3627491 h 5561214"/>
                  <a:gd name="connsiteX807" fmla="*/ 8072404 w 9950334"/>
                  <a:gd name="connsiteY807" fmla="*/ 3566459 h 5561214"/>
                  <a:gd name="connsiteX808" fmla="*/ 8059315 w 9950334"/>
                  <a:gd name="connsiteY808" fmla="*/ 3559658 h 5561214"/>
                  <a:gd name="connsiteX809" fmla="*/ 8114180 w 9950334"/>
                  <a:gd name="connsiteY809" fmla="*/ 3287167 h 5561214"/>
                  <a:gd name="connsiteX810" fmla="*/ 8123905 w 9950334"/>
                  <a:gd name="connsiteY810" fmla="*/ 3285920 h 5561214"/>
                  <a:gd name="connsiteX811" fmla="*/ 8145186 w 9950334"/>
                  <a:gd name="connsiteY811" fmla="*/ 3251422 h 5561214"/>
                  <a:gd name="connsiteX812" fmla="*/ 8422083 w 9950334"/>
                  <a:gd name="connsiteY812" fmla="*/ 3158237 h 5561214"/>
                  <a:gd name="connsiteX813" fmla="*/ 8459407 w 9950334"/>
                  <a:gd name="connsiteY813" fmla="*/ 3174280 h 5561214"/>
                  <a:gd name="connsiteX814" fmla="*/ 8470712 w 9950334"/>
                  <a:gd name="connsiteY814" fmla="*/ 3167714 h 5561214"/>
                  <a:gd name="connsiteX815" fmla="*/ 7511590 w 9950334"/>
                  <a:gd name="connsiteY815" fmla="*/ 3184838 h 5561214"/>
                  <a:gd name="connsiteX816" fmla="*/ 7566971 w 9950334"/>
                  <a:gd name="connsiteY816" fmla="*/ 3141154 h 5561214"/>
                  <a:gd name="connsiteX817" fmla="*/ 7565955 w 9950334"/>
                  <a:gd name="connsiteY817" fmla="*/ 3123739 h 5561214"/>
                  <a:gd name="connsiteX818" fmla="*/ 7815337 w 9950334"/>
                  <a:gd name="connsiteY818" fmla="*/ 3039615 h 5561214"/>
                  <a:gd name="connsiteX819" fmla="*/ 7865764 w 9950334"/>
                  <a:gd name="connsiteY819" fmla="*/ 3059787 h 5561214"/>
                  <a:gd name="connsiteX820" fmla="*/ 7877516 w 9950334"/>
                  <a:gd name="connsiteY820" fmla="*/ 3051918 h 5561214"/>
                  <a:gd name="connsiteX821" fmla="*/ 8089075 w 9950334"/>
                  <a:gd name="connsiteY821" fmla="*/ 3238372 h 5561214"/>
                  <a:gd name="connsiteX822" fmla="*/ 8096419 w 9950334"/>
                  <a:gd name="connsiteY822" fmla="*/ 3281602 h 5561214"/>
                  <a:gd name="connsiteX823" fmla="*/ 8105701 w 9950334"/>
                  <a:gd name="connsiteY823" fmla="*/ 3286087 h 5561214"/>
                  <a:gd name="connsiteX824" fmla="*/ 8050920 w 9950334"/>
                  <a:gd name="connsiteY824" fmla="*/ 3557747 h 5561214"/>
                  <a:gd name="connsiteX825" fmla="*/ 8032632 w 9950334"/>
                  <a:gd name="connsiteY825" fmla="*/ 3559409 h 5561214"/>
                  <a:gd name="connsiteX826" fmla="*/ 8003621 w 9950334"/>
                  <a:gd name="connsiteY826" fmla="*/ 3612195 h 5561214"/>
                  <a:gd name="connsiteX827" fmla="*/ 7743099 w 9950334"/>
                  <a:gd name="connsiteY827" fmla="*/ 3699562 h 5561214"/>
                  <a:gd name="connsiteX828" fmla="*/ 7705360 w 9950334"/>
                  <a:gd name="connsiteY828" fmla="*/ 3682936 h 5561214"/>
                  <a:gd name="connsiteX829" fmla="*/ 7692475 w 9950334"/>
                  <a:gd name="connsiteY829" fmla="*/ 3691249 h 5561214"/>
                  <a:gd name="connsiteX830" fmla="*/ 7479836 w 9950334"/>
                  <a:gd name="connsiteY830" fmla="*/ 3503797 h 5561214"/>
                  <a:gd name="connsiteX831" fmla="*/ 7469799 w 9950334"/>
                  <a:gd name="connsiteY831" fmla="*/ 3450180 h 5561214"/>
                  <a:gd name="connsiteX832" fmla="*/ 7458971 w 9950334"/>
                  <a:gd name="connsiteY832" fmla="*/ 3445026 h 5561214"/>
                  <a:gd name="connsiteX833" fmla="*/ 7089137 w 9950334"/>
                  <a:gd name="connsiteY833" fmla="*/ 3576450 h 5561214"/>
                  <a:gd name="connsiteX834" fmla="*/ 7094619 w 9950334"/>
                  <a:gd name="connsiteY834" fmla="*/ 3619956 h 5561214"/>
                  <a:gd name="connsiteX835" fmla="*/ 7103685 w 9950334"/>
                  <a:gd name="connsiteY835" fmla="*/ 3624830 h 5561214"/>
                  <a:gd name="connsiteX836" fmla="*/ 7048156 w 9950334"/>
                  <a:gd name="connsiteY836" fmla="*/ 3899732 h 5561214"/>
                  <a:gd name="connsiteX837" fmla="*/ 7033276 w 9950334"/>
                  <a:gd name="connsiteY837" fmla="*/ 3901312 h 5561214"/>
                  <a:gd name="connsiteX838" fmla="*/ 7007340 w 9950334"/>
                  <a:gd name="connsiteY838" fmla="*/ 3947032 h 5561214"/>
                  <a:gd name="connsiteX839" fmla="*/ 6747650 w 9950334"/>
                  <a:gd name="connsiteY839" fmla="*/ 4034482 h 5561214"/>
                  <a:gd name="connsiteX840" fmla="*/ 6700351 w 9950334"/>
                  <a:gd name="connsiteY840" fmla="*/ 4012370 h 5561214"/>
                  <a:gd name="connsiteX841" fmla="*/ 6684307 w 9950334"/>
                  <a:gd name="connsiteY841" fmla="*/ 4022512 h 5561214"/>
                  <a:gd name="connsiteX842" fmla="*/ 6482973 w 9950334"/>
                  <a:gd name="connsiteY842" fmla="*/ 3844951 h 5561214"/>
                  <a:gd name="connsiteX843" fmla="*/ 6474787 w 9950334"/>
                  <a:gd name="connsiteY843" fmla="*/ 3783897 h 5561214"/>
                  <a:gd name="connsiteX844" fmla="*/ 6458700 w 9950334"/>
                  <a:gd name="connsiteY844" fmla="*/ 3776205 h 5561214"/>
                  <a:gd name="connsiteX845" fmla="*/ 6513897 w 9950334"/>
                  <a:gd name="connsiteY845" fmla="*/ 3502467 h 5561214"/>
                  <a:gd name="connsiteX846" fmla="*/ 6526282 w 9950334"/>
                  <a:gd name="connsiteY846" fmla="*/ 3501220 h 5561214"/>
                  <a:gd name="connsiteX847" fmla="*/ 6547480 w 9950334"/>
                  <a:gd name="connsiteY847" fmla="*/ 3465891 h 5561214"/>
                  <a:gd name="connsiteX848" fmla="*/ 6805174 w 9950334"/>
                  <a:gd name="connsiteY848" fmla="*/ 3379273 h 5561214"/>
                  <a:gd name="connsiteX849" fmla="*/ 6865608 w 9950334"/>
                  <a:gd name="connsiteY849" fmla="*/ 3406289 h 5561214"/>
                  <a:gd name="connsiteX850" fmla="*/ 6884561 w 9950334"/>
                  <a:gd name="connsiteY850" fmla="*/ 3395150 h 5561214"/>
                  <a:gd name="connsiteX851" fmla="*/ 6856381 w 9950334"/>
                  <a:gd name="connsiteY851" fmla="*/ 3309861 h 5561214"/>
                  <a:gd name="connsiteX852" fmla="*/ 6801057 w 9950334"/>
                  <a:gd name="connsiteY852" fmla="*/ 3353617 h 5561214"/>
                  <a:gd name="connsiteX853" fmla="*/ 6802348 w 9950334"/>
                  <a:gd name="connsiteY853" fmla="*/ 3372041 h 5561214"/>
                  <a:gd name="connsiteX854" fmla="*/ 6545236 w 9950334"/>
                  <a:gd name="connsiteY854" fmla="*/ 3458576 h 5561214"/>
                  <a:gd name="connsiteX855" fmla="*/ 6507828 w 9950334"/>
                  <a:gd name="connsiteY855" fmla="*/ 3441950 h 5561214"/>
                  <a:gd name="connsiteX856" fmla="*/ 6495941 w 9950334"/>
                  <a:gd name="connsiteY856" fmla="*/ 3449099 h 5561214"/>
                  <a:gd name="connsiteX857" fmla="*/ 6286959 w 9950334"/>
                  <a:gd name="connsiteY857" fmla="*/ 3264973 h 5561214"/>
                  <a:gd name="connsiteX858" fmla="*/ 6279075 w 9950334"/>
                  <a:gd name="connsiteY858" fmla="*/ 3203760 h 5561214"/>
                  <a:gd name="connsiteX859" fmla="*/ 6264847 w 9950334"/>
                  <a:gd name="connsiteY859" fmla="*/ 3196476 h 5561214"/>
                  <a:gd name="connsiteX860" fmla="*/ 6318963 w 9950334"/>
                  <a:gd name="connsiteY860" fmla="*/ 2928141 h 5561214"/>
                  <a:gd name="connsiteX861" fmla="*/ 6363461 w 9950334"/>
                  <a:gd name="connsiteY861" fmla="*/ 2897000 h 5561214"/>
                  <a:gd name="connsiteX862" fmla="*/ 6363436 w 9950334"/>
                  <a:gd name="connsiteY862" fmla="*/ 2883501 h 5561214"/>
                  <a:gd name="connsiteX863" fmla="*/ 6615644 w 9950334"/>
                  <a:gd name="connsiteY863" fmla="*/ 2798628 h 5561214"/>
                  <a:gd name="connsiteX864" fmla="*/ 6668430 w 9950334"/>
                  <a:gd name="connsiteY864" fmla="*/ 2822237 h 5561214"/>
                  <a:gd name="connsiteX865" fmla="*/ 6684473 w 9950334"/>
                  <a:gd name="connsiteY865" fmla="*/ 2813010 h 5561214"/>
                  <a:gd name="connsiteX866" fmla="*/ 6893373 w 9950334"/>
                  <a:gd name="connsiteY866" fmla="*/ 2997136 h 5561214"/>
                  <a:gd name="connsiteX867" fmla="*/ 6901766 w 9950334"/>
                  <a:gd name="connsiteY867" fmla="*/ 3040175 h 5561214"/>
                  <a:gd name="connsiteX868" fmla="*/ 6909998 w 9950334"/>
                  <a:gd name="connsiteY868" fmla="*/ 3044103 h 5561214"/>
                  <a:gd name="connsiteX869" fmla="*/ 8260151 w 9950334"/>
                  <a:gd name="connsiteY869" fmla="*/ 2524641 h 5561214"/>
                  <a:gd name="connsiteX870" fmla="*/ 8244024 w 9950334"/>
                  <a:gd name="connsiteY870" fmla="*/ 2526137 h 5561214"/>
                  <a:gd name="connsiteX871" fmla="*/ 8218338 w 9950334"/>
                  <a:gd name="connsiteY871" fmla="*/ 2572688 h 5561214"/>
                  <a:gd name="connsiteX872" fmla="*/ 7963969 w 9950334"/>
                  <a:gd name="connsiteY872" fmla="*/ 2658310 h 5561214"/>
                  <a:gd name="connsiteX873" fmla="*/ 7904532 w 9950334"/>
                  <a:gd name="connsiteY873" fmla="*/ 2633372 h 5561214"/>
                  <a:gd name="connsiteX874" fmla="*/ 7888738 w 9950334"/>
                  <a:gd name="connsiteY874" fmla="*/ 2641684 h 5561214"/>
                  <a:gd name="connsiteX875" fmla="*/ 7686407 w 9950334"/>
                  <a:gd name="connsiteY875" fmla="*/ 2463293 h 5561214"/>
                  <a:gd name="connsiteX876" fmla="*/ 7681608 w 9950334"/>
                  <a:gd name="connsiteY876" fmla="*/ 2416515 h 5561214"/>
                  <a:gd name="connsiteX877" fmla="*/ 7668867 w 9950334"/>
                  <a:gd name="connsiteY877" fmla="*/ 2410092 h 5561214"/>
                  <a:gd name="connsiteX878" fmla="*/ 7723897 w 9950334"/>
                  <a:gd name="connsiteY878" fmla="*/ 2137434 h 5561214"/>
                  <a:gd name="connsiteX879" fmla="*/ 7739275 w 9950334"/>
                  <a:gd name="connsiteY879" fmla="*/ 2135772 h 5561214"/>
                  <a:gd name="connsiteX880" fmla="*/ 7765045 w 9950334"/>
                  <a:gd name="connsiteY880" fmla="*/ 2089387 h 5561214"/>
                  <a:gd name="connsiteX881" fmla="*/ 8015009 w 9950334"/>
                  <a:gd name="connsiteY881" fmla="*/ 2005262 h 5561214"/>
                  <a:gd name="connsiteX882" fmla="*/ 8075941 w 9950334"/>
                  <a:gd name="connsiteY882" fmla="*/ 2033359 h 5561214"/>
                  <a:gd name="connsiteX883" fmla="*/ 8095310 w 9950334"/>
                  <a:gd name="connsiteY883" fmla="*/ 2021804 h 5561214"/>
                  <a:gd name="connsiteX884" fmla="*/ 8286502 w 9950334"/>
                  <a:gd name="connsiteY884" fmla="*/ 2189971 h 5561214"/>
                  <a:gd name="connsiteX885" fmla="*/ 8296562 w 9950334"/>
                  <a:gd name="connsiteY885" fmla="*/ 2259786 h 5561214"/>
                  <a:gd name="connsiteX886" fmla="*/ 8312355 w 9950334"/>
                  <a:gd name="connsiteY886" fmla="*/ 2267695 h 5561214"/>
                  <a:gd name="connsiteX887" fmla="*/ 9901000 w 9950334"/>
                  <a:gd name="connsiteY887" fmla="*/ 1985062 h 5561214"/>
                  <a:gd name="connsiteX888" fmla="*/ 9906894 w 9950334"/>
                  <a:gd name="connsiteY888" fmla="*/ 2028632 h 5561214"/>
                  <a:gd name="connsiteX889" fmla="*/ 9916046 w 9950334"/>
                  <a:gd name="connsiteY889" fmla="*/ 2033442 h 5561214"/>
                  <a:gd name="connsiteX890" fmla="*/ 9862845 w 9950334"/>
                  <a:gd name="connsiteY890" fmla="*/ 2296623 h 5561214"/>
                  <a:gd name="connsiteX891" fmla="*/ 9806012 w 9950334"/>
                  <a:gd name="connsiteY891" fmla="*/ 2338401 h 5561214"/>
                  <a:gd name="connsiteX892" fmla="*/ 9807482 w 9950334"/>
                  <a:gd name="connsiteY892" fmla="*/ 2360049 h 5561214"/>
                  <a:gd name="connsiteX893" fmla="*/ 9550286 w 9950334"/>
                  <a:gd name="connsiteY893" fmla="*/ 2446585 h 5561214"/>
                  <a:gd name="connsiteX894" fmla="*/ 9511715 w 9950334"/>
                  <a:gd name="connsiteY894" fmla="*/ 2427548 h 5561214"/>
                  <a:gd name="connsiteX895" fmla="*/ 9499662 w 9950334"/>
                  <a:gd name="connsiteY895" fmla="*/ 2434864 h 5561214"/>
                  <a:gd name="connsiteX896" fmla="*/ 9299159 w 9950334"/>
                  <a:gd name="connsiteY896" fmla="*/ 2258135 h 5561214"/>
                  <a:gd name="connsiteX897" fmla="*/ 9292110 w 9950334"/>
                  <a:gd name="connsiteY897" fmla="*/ 2187952 h 5561214"/>
                  <a:gd name="connsiteX898" fmla="*/ 9271893 w 9950334"/>
                  <a:gd name="connsiteY898" fmla="*/ 2178000 h 5561214"/>
                  <a:gd name="connsiteX899" fmla="*/ 9325177 w 9950334"/>
                  <a:gd name="connsiteY899" fmla="*/ 1913822 h 5561214"/>
                  <a:gd name="connsiteX900" fmla="*/ 9336898 w 9950334"/>
                  <a:gd name="connsiteY900" fmla="*/ 1912492 h 5561214"/>
                  <a:gd name="connsiteX901" fmla="*/ 9357680 w 9950334"/>
                  <a:gd name="connsiteY901" fmla="*/ 1875500 h 5561214"/>
                  <a:gd name="connsiteX902" fmla="*/ 9616705 w 9950334"/>
                  <a:gd name="connsiteY902" fmla="*/ 1788300 h 5561214"/>
                  <a:gd name="connsiteX903" fmla="*/ 9677720 w 9950334"/>
                  <a:gd name="connsiteY903" fmla="*/ 1816729 h 5561214"/>
                  <a:gd name="connsiteX904" fmla="*/ 9697088 w 9950334"/>
                  <a:gd name="connsiteY904" fmla="*/ 1805174 h 5561214"/>
                  <a:gd name="connsiteX905" fmla="*/ 9302484 w 9950334"/>
                  <a:gd name="connsiteY905" fmla="*/ 1864610 h 5561214"/>
                  <a:gd name="connsiteX906" fmla="*/ 9309256 w 9950334"/>
                  <a:gd name="connsiteY906" fmla="*/ 1907815 h 5561214"/>
                  <a:gd name="connsiteX907" fmla="*/ 9317198 w 9950334"/>
                  <a:gd name="connsiteY907" fmla="*/ 1911993 h 5561214"/>
                  <a:gd name="connsiteX908" fmla="*/ 9263830 w 9950334"/>
                  <a:gd name="connsiteY908" fmla="*/ 2176753 h 5561214"/>
                  <a:gd name="connsiteX909" fmla="*/ 9245791 w 9950334"/>
                  <a:gd name="connsiteY909" fmla="*/ 2178915 h 5561214"/>
                  <a:gd name="connsiteX910" fmla="*/ 9212540 w 9950334"/>
                  <a:gd name="connsiteY910" fmla="*/ 2238101 h 5561214"/>
                  <a:gd name="connsiteX911" fmla="*/ 8951770 w 9950334"/>
                  <a:gd name="connsiteY911" fmla="*/ 2325801 h 5561214"/>
                  <a:gd name="connsiteX912" fmla="*/ 8913947 w 9950334"/>
                  <a:gd name="connsiteY912" fmla="*/ 2308510 h 5561214"/>
                  <a:gd name="connsiteX913" fmla="*/ 8902309 w 9950334"/>
                  <a:gd name="connsiteY913" fmla="*/ 2315327 h 5561214"/>
                  <a:gd name="connsiteX914" fmla="*/ 8699063 w 9950334"/>
                  <a:gd name="connsiteY914" fmla="*/ 2136353 h 5561214"/>
                  <a:gd name="connsiteX915" fmla="*/ 8689962 w 9950334"/>
                  <a:gd name="connsiteY915" fmla="*/ 2066407 h 5561214"/>
                  <a:gd name="connsiteX916" fmla="*/ 8673210 w 9950334"/>
                  <a:gd name="connsiteY916" fmla="*/ 2057964 h 5561214"/>
                  <a:gd name="connsiteX917" fmla="*/ 8727077 w 9950334"/>
                  <a:gd name="connsiteY917" fmla="*/ 1790877 h 5561214"/>
                  <a:gd name="connsiteX918" fmla="*/ 8760262 w 9950334"/>
                  <a:gd name="connsiteY918" fmla="*/ 1762394 h 5561214"/>
                  <a:gd name="connsiteX919" fmla="*/ 8759829 w 9950334"/>
                  <a:gd name="connsiteY919" fmla="*/ 1754384 h 5561214"/>
                  <a:gd name="connsiteX920" fmla="*/ 9031073 w 9950334"/>
                  <a:gd name="connsiteY920" fmla="*/ 1662944 h 5561214"/>
                  <a:gd name="connsiteX921" fmla="*/ 9077881 w 9950334"/>
                  <a:gd name="connsiteY921" fmla="*/ 1682032 h 5561214"/>
                  <a:gd name="connsiteX922" fmla="*/ 9088015 w 9950334"/>
                  <a:gd name="connsiteY922" fmla="*/ 1675579 h 5561214"/>
                  <a:gd name="connsiteX923" fmla="*/ 8738216 w 9950334"/>
                  <a:gd name="connsiteY923" fmla="*/ 183943 h 5561214"/>
                  <a:gd name="connsiteX924" fmla="*/ 8753512 w 9950334"/>
                  <a:gd name="connsiteY924" fmla="*/ 182281 h 5561214"/>
                  <a:gd name="connsiteX925" fmla="*/ 8779364 w 9950334"/>
                  <a:gd name="connsiteY925" fmla="*/ 136145 h 5561214"/>
                  <a:gd name="connsiteX926" fmla="*/ 9049444 w 9950334"/>
                  <a:gd name="connsiteY926" fmla="*/ 45204 h 5561214"/>
                  <a:gd name="connsiteX927" fmla="*/ 9090848 w 9950334"/>
                  <a:gd name="connsiteY927" fmla="*/ 59285 h 5561214"/>
                  <a:gd name="connsiteX928" fmla="*/ 9096827 w 9950334"/>
                  <a:gd name="connsiteY928" fmla="*/ 55428 h 5561214"/>
                  <a:gd name="connsiteX929" fmla="*/ 9314787 w 9950334"/>
                  <a:gd name="connsiteY929" fmla="*/ 247619 h 5561214"/>
                  <a:gd name="connsiteX930" fmla="*/ 9320249 w 9950334"/>
                  <a:gd name="connsiteY930" fmla="*/ 291127 h 5561214"/>
                  <a:gd name="connsiteX931" fmla="*/ 9330331 w 9950334"/>
                  <a:gd name="connsiteY931" fmla="*/ 296331 h 5561214"/>
                  <a:gd name="connsiteX932" fmla="*/ 9274969 w 9950334"/>
                  <a:gd name="connsiteY932" fmla="*/ 571233 h 5561214"/>
                  <a:gd name="connsiteX933" fmla="*/ 9258343 w 9950334"/>
                  <a:gd name="connsiteY933" fmla="*/ 572646 h 5561214"/>
                  <a:gd name="connsiteX934" fmla="*/ 9232657 w 9950334"/>
                  <a:gd name="connsiteY934" fmla="*/ 619447 h 5561214"/>
                  <a:gd name="connsiteX935" fmla="*/ 8963407 w 9950334"/>
                  <a:gd name="connsiteY935" fmla="*/ 710056 h 5561214"/>
                  <a:gd name="connsiteX936" fmla="*/ 8926000 w 9950334"/>
                  <a:gd name="connsiteY936" fmla="*/ 693430 h 5561214"/>
                  <a:gd name="connsiteX937" fmla="*/ 8916274 w 9950334"/>
                  <a:gd name="connsiteY937" fmla="*/ 698667 h 5561214"/>
                  <a:gd name="connsiteX938" fmla="*/ 8698314 w 9950334"/>
                  <a:gd name="connsiteY938" fmla="*/ 506560 h 5561214"/>
                  <a:gd name="connsiteX939" fmla="*/ 8689088 w 9950334"/>
                  <a:gd name="connsiteY939" fmla="*/ 463932 h 5561214"/>
                  <a:gd name="connsiteX940" fmla="*/ 8682354 w 9950334"/>
                  <a:gd name="connsiteY940" fmla="*/ 460674 h 5561214"/>
                  <a:gd name="connsiteX941" fmla="*/ 8336296 w 9950334"/>
                  <a:gd name="connsiteY941" fmla="*/ 634825 h 5561214"/>
                  <a:gd name="connsiteX942" fmla="*/ 8369249 w 9950334"/>
                  <a:gd name="connsiteY942" fmla="*/ 606075 h 5561214"/>
                  <a:gd name="connsiteX943" fmla="*/ 8368466 w 9950334"/>
                  <a:gd name="connsiteY943" fmla="*/ 596753 h 5561214"/>
                  <a:gd name="connsiteX944" fmla="*/ 8644282 w 9950334"/>
                  <a:gd name="connsiteY944" fmla="*/ 503983 h 5561214"/>
                  <a:gd name="connsiteX945" fmla="*/ 8685880 w 9950334"/>
                  <a:gd name="connsiteY945" fmla="*/ 518220 h 5561214"/>
                  <a:gd name="connsiteX946" fmla="*/ 8692661 w 9950334"/>
                  <a:gd name="connsiteY946" fmla="*/ 513709 h 5561214"/>
                  <a:gd name="connsiteX947" fmla="*/ 8910040 w 9950334"/>
                  <a:gd name="connsiteY947" fmla="*/ 705317 h 5561214"/>
                  <a:gd name="connsiteX948" fmla="*/ 8917176 w 9950334"/>
                  <a:gd name="connsiteY948" fmla="*/ 748702 h 5561214"/>
                  <a:gd name="connsiteX949" fmla="*/ 8927164 w 9950334"/>
                  <a:gd name="connsiteY949" fmla="*/ 753448 h 5561214"/>
                  <a:gd name="connsiteX950" fmla="*/ 8870887 w 9950334"/>
                  <a:gd name="connsiteY950" fmla="*/ 1032589 h 5561214"/>
                  <a:gd name="connsiteX951" fmla="*/ 8831878 w 9950334"/>
                  <a:gd name="connsiteY951" fmla="*/ 1065292 h 5561214"/>
                  <a:gd name="connsiteX952" fmla="*/ 8832648 w 9950334"/>
                  <a:gd name="connsiteY952" fmla="*/ 1076481 h 5561214"/>
                  <a:gd name="connsiteX953" fmla="*/ 8560407 w 9950334"/>
                  <a:gd name="connsiteY953" fmla="*/ 1167921 h 5561214"/>
                  <a:gd name="connsiteX954" fmla="*/ 8524163 w 9950334"/>
                  <a:gd name="connsiteY954" fmla="*/ 1153955 h 5561214"/>
                  <a:gd name="connsiteX955" fmla="*/ 8515269 w 9950334"/>
                  <a:gd name="connsiteY955" fmla="*/ 1158610 h 5561214"/>
                  <a:gd name="connsiteX956" fmla="*/ 8300551 w 9950334"/>
                  <a:gd name="connsiteY956" fmla="*/ 969496 h 5561214"/>
                  <a:gd name="connsiteX957" fmla="*/ 8290419 w 9950334"/>
                  <a:gd name="connsiteY957" fmla="*/ 916137 h 5561214"/>
                  <a:gd name="connsiteX958" fmla="*/ 8280517 w 9950334"/>
                  <a:gd name="connsiteY958" fmla="*/ 911307 h 5561214"/>
                  <a:gd name="connsiteX959" fmla="*/ 7294212 w 9950334"/>
                  <a:gd name="connsiteY959" fmla="*/ 1303169 h 5561214"/>
                  <a:gd name="connsiteX960" fmla="*/ 7288406 w 9950334"/>
                  <a:gd name="connsiteY960" fmla="*/ 1259468 h 5561214"/>
                  <a:gd name="connsiteX961" fmla="*/ 7278169 w 9950334"/>
                  <a:gd name="connsiteY961" fmla="*/ 1254290 h 5561214"/>
                  <a:gd name="connsiteX962" fmla="*/ 7333947 w 9950334"/>
                  <a:gd name="connsiteY962" fmla="*/ 977892 h 5561214"/>
                  <a:gd name="connsiteX963" fmla="*/ 7349908 w 9950334"/>
                  <a:gd name="connsiteY963" fmla="*/ 976396 h 5561214"/>
                  <a:gd name="connsiteX964" fmla="*/ 7375843 w 9950334"/>
                  <a:gd name="connsiteY964" fmla="*/ 931008 h 5561214"/>
                  <a:gd name="connsiteX965" fmla="*/ 7643347 w 9950334"/>
                  <a:gd name="connsiteY965" fmla="*/ 840649 h 5561214"/>
                  <a:gd name="connsiteX966" fmla="*/ 7681253 w 9950334"/>
                  <a:gd name="connsiteY966" fmla="*/ 858188 h 5561214"/>
                  <a:gd name="connsiteX967" fmla="*/ 7693140 w 9950334"/>
                  <a:gd name="connsiteY967" fmla="*/ 851123 h 5561214"/>
                  <a:gd name="connsiteX968" fmla="*/ 7897051 w 9950334"/>
                  <a:gd name="connsiteY968" fmla="*/ 1030844 h 5561214"/>
                  <a:gd name="connsiteX969" fmla="*/ 7905764 w 9950334"/>
                  <a:gd name="connsiteY969" fmla="*/ 1100839 h 5561214"/>
                  <a:gd name="connsiteX970" fmla="*/ 7921990 w 9950334"/>
                  <a:gd name="connsiteY970" fmla="*/ 1109233 h 5561214"/>
                  <a:gd name="connsiteX971" fmla="*/ 7870201 w 9950334"/>
                  <a:gd name="connsiteY971" fmla="*/ 1366345 h 5561214"/>
                  <a:gd name="connsiteX972" fmla="*/ 7854739 w 9950334"/>
                  <a:gd name="connsiteY972" fmla="*/ 1367925 h 5561214"/>
                  <a:gd name="connsiteX973" fmla="*/ 7828970 w 9950334"/>
                  <a:gd name="connsiteY973" fmla="*/ 1414310 h 5561214"/>
                  <a:gd name="connsiteX974" fmla="*/ 7561300 w 9950334"/>
                  <a:gd name="connsiteY974" fmla="*/ 1504337 h 5561214"/>
                  <a:gd name="connsiteX975" fmla="*/ 7524143 w 9950334"/>
                  <a:gd name="connsiteY975" fmla="*/ 1488376 h 5561214"/>
                  <a:gd name="connsiteX976" fmla="*/ 7512588 w 9950334"/>
                  <a:gd name="connsiteY976" fmla="*/ 1495110 h 5561214"/>
                  <a:gd name="connsiteX977" fmla="*/ 7897217 w 9950334"/>
                  <a:gd name="connsiteY977" fmla="*/ 1427860 h 5561214"/>
                  <a:gd name="connsiteX978" fmla="*/ 7889414 w 9950334"/>
                  <a:gd name="connsiteY978" fmla="*/ 1373873 h 5561214"/>
                  <a:gd name="connsiteX979" fmla="*/ 7878514 w 9950334"/>
                  <a:gd name="connsiteY979" fmla="*/ 1368175 h 5561214"/>
                  <a:gd name="connsiteX980" fmla="*/ 7930385 w 9950334"/>
                  <a:gd name="connsiteY980" fmla="*/ 1110978 h 5561214"/>
                  <a:gd name="connsiteX981" fmla="*/ 7951334 w 9950334"/>
                  <a:gd name="connsiteY981" fmla="*/ 1109066 h 5561214"/>
                  <a:gd name="connsiteX982" fmla="*/ 7984585 w 9950334"/>
                  <a:gd name="connsiteY982" fmla="*/ 1048217 h 5561214"/>
                  <a:gd name="connsiteX983" fmla="*/ 8233966 w 9950334"/>
                  <a:gd name="connsiteY983" fmla="*/ 964259 h 5561214"/>
                  <a:gd name="connsiteX984" fmla="*/ 8284669 w 9950334"/>
                  <a:gd name="connsiteY984" fmla="*/ 983398 h 5561214"/>
                  <a:gd name="connsiteX985" fmla="*/ 8295314 w 9950334"/>
                  <a:gd name="connsiteY985" fmla="*/ 976229 h 5561214"/>
                  <a:gd name="connsiteX986" fmla="*/ 8509366 w 9950334"/>
                  <a:gd name="connsiteY986" fmla="*/ 1164928 h 5561214"/>
                  <a:gd name="connsiteX987" fmla="*/ 8515432 w 9950334"/>
                  <a:gd name="connsiteY987" fmla="*/ 1208356 h 5561214"/>
                  <a:gd name="connsiteX988" fmla="*/ 8524412 w 9950334"/>
                  <a:gd name="connsiteY988" fmla="*/ 1213059 h 5561214"/>
                  <a:gd name="connsiteX989" fmla="*/ 8471294 w 9950334"/>
                  <a:gd name="connsiteY989" fmla="*/ 1476323 h 5561214"/>
                  <a:gd name="connsiteX990" fmla="*/ 8450844 w 9950334"/>
                  <a:gd name="connsiteY990" fmla="*/ 1478318 h 5561214"/>
                  <a:gd name="connsiteX991" fmla="*/ 8417594 w 9950334"/>
                  <a:gd name="connsiteY991" fmla="*/ 1538419 h 5561214"/>
                  <a:gd name="connsiteX992" fmla="*/ 8158736 w 9950334"/>
                  <a:gd name="connsiteY992" fmla="*/ 1625536 h 5561214"/>
                  <a:gd name="connsiteX993" fmla="*/ 8120996 w 9950334"/>
                  <a:gd name="connsiteY993" fmla="*/ 1608329 h 5561214"/>
                  <a:gd name="connsiteX994" fmla="*/ 8109691 w 9950334"/>
                  <a:gd name="connsiteY994" fmla="*/ 1614896 h 5561214"/>
                  <a:gd name="connsiteX995" fmla="*/ 8128727 w 9950334"/>
                  <a:gd name="connsiteY995" fmla="*/ 1668929 h 5561214"/>
                  <a:gd name="connsiteX996" fmla="*/ 8139533 w 9950334"/>
                  <a:gd name="connsiteY996" fmla="*/ 1667599 h 5561214"/>
                  <a:gd name="connsiteX997" fmla="*/ 8160897 w 9950334"/>
                  <a:gd name="connsiteY997" fmla="*/ 1633184 h 5561214"/>
                  <a:gd name="connsiteX998" fmla="*/ 8420088 w 9950334"/>
                  <a:gd name="connsiteY998" fmla="*/ 1545984 h 5561214"/>
                  <a:gd name="connsiteX999" fmla="*/ 8480605 w 9950334"/>
                  <a:gd name="connsiteY999" fmla="*/ 1573166 h 5561214"/>
                  <a:gd name="connsiteX1000" fmla="*/ 8499225 w 9950334"/>
                  <a:gd name="connsiteY1000" fmla="*/ 1562360 h 5561214"/>
                  <a:gd name="connsiteX1001" fmla="*/ 8703635 w 9950334"/>
                  <a:gd name="connsiteY1001" fmla="*/ 1742580 h 5561214"/>
                  <a:gd name="connsiteX1002" fmla="*/ 8712528 w 9950334"/>
                  <a:gd name="connsiteY1002" fmla="*/ 1785158 h 5561214"/>
                  <a:gd name="connsiteX1003" fmla="*/ 8719014 w 9950334"/>
                  <a:gd name="connsiteY1003" fmla="*/ 1788383 h 5561214"/>
                  <a:gd name="connsiteX1004" fmla="*/ 8665147 w 9950334"/>
                  <a:gd name="connsiteY1004" fmla="*/ 2055720 h 5561214"/>
                  <a:gd name="connsiteX1005" fmla="*/ 8645030 w 9950334"/>
                  <a:gd name="connsiteY1005" fmla="*/ 2057715 h 5561214"/>
                  <a:gd name="connsiteX1006" fmla="*/ 8611779 w 9950334"/>
                  <a:gd name="connsiteY1006" fmla="*/ 2117400 h 5561214"/>
                  <a:gd name="connsiteX1007" fmla="*/ 8371541 w 9950334"/>
                  <a:gd name="connsiteY1007" fmla="*/ 2198283 h 5561214"/>
                  <a:gd name="connsiteX1008" fmla="*/ 8305322 w 9950334"/>
                  <a:gd name="connsiteY1008" fmla="*/ 2173989 h 5561214"/>
                  <a:gd name="connsiteX1009" fmla="*/ 8292571 w 9950334"/>
                  <a:gd name="connsiteY1009" fmla="*/ 2182489 h 5561214"/>
                  <a:gd name="connsiteX1010" fmla="*/ 8101378 w 9950334"/>
                  <a:gd name="connsiteY1010" fmla="*/ 2014156 h 5561214"/>
                  <a:gd name="connsiteX1011" fmla="*/ 8089887 w 9950334"/>
                  <a:gd name="connsiteY1011" fmla="*/ 1944563 h 5561214"/>
                  <a:gd name="connsiteX1012" fmla="*/ 8074361 w 9950334"/>
                  <a:gd name="connsiteY1012" fmla="*/ 1937097 h 5561214"/>
                  <a:gd name="connsiteX1013" fmla="*/ 7123136 w 9950334"/>
                  <a:gd name="connsiteY1013" fmla="*/ 2025545 h 5561214"/>
                  <a:gd name="connsiteX1014" fmla="*/ 7178143 w 9950334"/>
                  <a:gd name="connsiteY1014" fmla="*/ 1981391 h 5561214"/>
                  <a:gd name="connsiteX1015" fmla="*/ 7177169 w 9950334"/>
                  <a:gd name="connsiteY1015" fmla="*/ 1964779 h 5561214"/>
                  <a:gd name="connsiteX1016" fmla="*/ 7429544 w 9950334"/>
                  <a:gd name="connsiteY1016" fmla="*/ 1879740 h 5561214"/>
                  <a:gd name="connsiteX1017" fmla="*/ 7479938 w 9950334"/>
                  <a:gd name="connsiteY1017" fmla="*/ 1900618 h 5561214"/>
                  <a:gd name="connsiteX1018" fmla="*/ 7490642 w 9950334"/>
                  <a:gd name="connsiteY1018" fmla="*/ 1893955 h 5561214"/>
                  <a:gd name="connsiteX1019" fmla="*/ 7696548 w 9950334"/>
                  <a:gd name="connsiteY1019" fmla="*/ 2075421 h 5561214"/>
                  <a:gd name="connsiteX1020" fmla="*/ 7704119 w 9950334"/>
                  <a:gd name="connsiteY1020" fmla="*/ 2129441 h 5561214"/>
                  <a:gd name="connsiteX1021" fmla="*/ 7715252 w 9950334"/>
                  <a:gd name="connsiteY1021" fmla="*/ 2135273 h 5561214"/>
                  <a:gd name="connsiteX1022" fmla="*/ 7660055 w 9950334"/>
                  <a:gd name="connsiteY1022" fmla="*/ 2409593 h 5561214"/>
                  <a:gd name="connsiteX1023" fmla="*/ 7650662 w 9950334"/>
                  <a:gd name="connsiteY1023" fmla="*/ 2411006 h 5561214"/>
                  <a:gd name="connsiteX1024" fmla="*/ 7628301 w 9950334"/>
                  <a:gd name="connsiteY1024" fmla="*/ 2449161 h 5561214"/>
                  <a:gd name="connsiteX1025" fmla="*/ 7369027 w 9950334"/>
                  <a:gd name="connsiteY1025" fmla="*/ 2536445 h 5561214"/>
                  <a:gd name="connsiteX1026" fmla="*/ 7304352 w 9950334"/>
                  <a:gd name="connsiteY1026" fmla="*/ 2508295 h 5561214"/>
                  <a:gd name="connsiteX1027" fmla="*/ 7288061 w 9950334"/>
                  <a:gd name="connsiteY1027" fmla="*/ 2518739 h 5561214"/>
                  <a:gd name="connsiteX1028" fmla="*/ 7082487 w 9950334"/>
                  <a:gd name="connsiteY1028" fmla="*/ 2337522 h 5561214"/>
                  <a:gd name="connsiteX1029" fmla="*/ 7076657 w 9950334"/>
                  <a:gd name="connsiteY1029" fmla="*/ 2297385 h 5561214"/>
                  <a:gd name="connsiteX1030" fmla="*/ 7069436 w 9950334"/>
                  <a:gd name="connsiteY1030" fmla="*/ 2293464 h 5561214"/>
                  <a:gd name="connsiteX1031" fmla="*/ 6721382 w 9950334"/>
                  <a:gd name="connsiteY1031" fmla="*/ 2469112 h 5561214"/>
                  <a:gd name="connsiteX1032" fmla="*/ 6756654 w 9950334"/>
                  <a:gd name="connsiteY1032" fmla="*/ 2438012 h 5561214"/>
                  <a:gd name="connsiteX1033" fmla="*/ 6755964 w 9950334"/>
                  <a:gd name="connsiteY1033" fmla="*/ 2428878 h 5561214"/>
                  <a:gd name="connsiteX1034" fmla="*/ 7033941 w 9950334"/>
                  <a:gd name="connsiteY1034" fmla="*/ 2335360 h 5561214"/>
                  <a:gd name="connsiteX1035" fmla="*/ 7073591 w 9950334"/>
                  <a:gd name="connsiteY1035" fmla="*/ 2344948 h 5561214"/>
                  <a:gd name="connsiteX1036" fmla="*/ 7075504 w 9950334"/>
                  <a:gd name="connsiteY1036" fmla="*/ 2343673 h 5561214"/>
                  <a:gd name="connsiteX1037" fmla="*/ 7281577 w 9950334"/>
                  <a:gd name="connsiteY1037" fmla="*/ 2525306 h 5561214"/>
                  <a:gd name="connsiteX1038" fmla="*/ 7293113 w 9950334"/>
                  <a:gd name="connsiteY1038" fmla="*/ 2594892 h 5561214"/>
                  <a:gd name="connsiteX1039" fmla="*/ 7309009 w 9950334"/>
                  <a:gd name="connsiteY1039" fmla="*/ 2602448 h 5561214"/>
                  <a:gd name="connsiteX1040" fmla="*/ 7256555 w 9950334"/>
                  <a:gd name="connsiteY1040" fmla="*/ 2862969 h 5561214"/>
                  <a:gd name="connsiteX1041" fmla="*/ 7241426 w 9950334"/>
                  <a:gd name="connsiteY1041" fmla="*/ 2864632 h 5561214"/>
                  <a:gd name="connsiteX1042" fmla="*/ 7215490 w 9950334"/>
                  <a:gd name="connsiteY1042" fmla="*/ 2910020 h 5561214"/>
                  <a:gd name="connsiteX1043" fmla="*/ 6946740 w 9950334"/>
                  <a:gd name="connsiteY1043" fmla="*/ 3000628 h 5561214"/>
                  <a:gd name="connsiteX1044" fmla="*/ 6909416 w 9950334"/>
                  <a:gd name="connsiteY1044" fmla="*/ 2984668 h 5561214"/>
                  <a:gd name="connsiteX1045" fmla="*/ 6899109 w 9950334"/>
                  <a:gd name="connsiteY1045" fmla="*/ 2990237 h 5561214"/>
                  <a:gd name="connsiteX1046" fmla="*/ 6690292 w 9950334"/>
                  <a:gd name="connsiteY1046" fmla="*/ 2806193 h 5561214"/>
                  <a:gd name="connsiteX1047" fmla="*/ 6680881 w 9950334"/>
                  <a:gd name="connsiteY1047" fmla="*/ 2745196 h 5561214"/>
                  <a:gd name="connsiteX1048" fmla="*/ 6667100 w 9950334"/>
                  <a:gd name="connsiteY1048" fmla="*/ 2738445 h 5561214"/>
                  <a:gd name="connsiteX1049" fmla="*/ 6290866 w 9950334"/>
                  <a:gd name="connsiteY1049" fmla="*/ 2871781 h 5561214"/>
                  <a:gd name="connsiteX1050" fmla="*/ 6306336 w 9950334"/>
                  <a:gd name="connsiteY1050" fmla="*/ 2923843 h 5561214"/>
                  <a:gd name="connsiteX1051" fmla="*/ 6310152 w 9950334"/>
                  <a:gd name="connsiteY1051" fmla="*/ 2925647 h 5561214"/>
                  <a:gd name="connsiteX1052" fmla="*/ 6255870 w 9950334"/>
                  <a:gd name="connsiteY1052" fmla="*/ 3194813 h 5561214"/>
                  <a:gd name="connsiteX1053" fmla="*/ 6208452 w 9950334"/>
                  <a:gd name="connsiteY1053" fmla="*/ 3234136 h 5561214"/>
                  <a:gd name="connsiteX1054" fmla="*/ 6209568 w 9950334"/>
                  <a:gd name="connsiteY1054" fmla="*/ 3248763 h 5561214"/>
                  <a:gd name="connsiteX1055" fmla="*/ 5954533 w 9950334"/>
                  <a:gd name="connsiteY1055" fmla="*/ 3334467 h 5561214"/>
                  <a:gd name="connsiteX1056" fmla="*/ 5907067 w 9950334"/>
                  <a:gd name="connsiteY1056" fmla="*/ 3311857 h 5561214"/>
                  <a:gd name="connsiteX1057" fmla="*/ 5890442 w 9950334"/>
                  <a:gd name="connsiteY1057" fmla="*/ 3322247 h 5561214"/>
                  <a:gd name="connsiteX1058" fmla="*/ 5684868 w 9950334"/>
                  <a:gd name="connsiteY1058" fmla="*/ 3141030 h 5561214"/>
                  <a:gd name="connsiteX1059" fmla="*/ 5677944 w 9950334"/>
                  <a:gd name="connsiteY1059" fmla="*/ 3086686 h 5561214"/>
                  <a:gd name="connsiteX1060" fmla="*/ 5664669 w 9950334"/>
                  <a:gd name="connsiteY1060" fmla="*/ 3080014 h 5561214"/>
                  <a:gd name="connsiteX1061" fmla="*/ 5716789 w 9950334"/>
                  <a:gd name="connsiteY1061" fmla="*/ 2821572 h 5561214"/>
                  <a:gd name="connsiteX1062" fmla="*/ 5773967 w 9950334"/>
                  <a:gd name="connsiteY1062" fmla="*/ 2780268 h 5561214"/>
                  <a:gd name="connsiteX1063" fmla="*/ 5772983 w 9950334"/>
                  <a:gd name="connsiteY1063" fmla="*/ 2759725 h 5561214"/>
                  <a:gd name="connsiteX1064" fmla="*/ 6027851 w 9950334"/>
                  <a:gd name="connsiteY1064" fmla="*/ 2673937 h 5561214"/>
                  <a:gd name="connsiteX1065" fmla="*/ 6068329 w 9950334"/>
                  <a:gd name="connsiteY1065" fmla="*/ 2690178 h 5561214"/>
                  <a:gd name="connsiteX1066" fmla="*/ 6077728 w 9950334"/>
                  <a:gd name="connsiteY1066" fmla="*/ 2683913 h 5561214"/>
                  <a:gd name="connsiteX1067" fmla="*/ 6893539 w 9950334"/>
                  <a:gd name="connsiteY1067" fmla="*/ 1367177 h 5561214"/>
                  <a:gd name="connsiteX1068" fmla="*/ 6902356 w 9950334"/>
                  <a:gd name="connsiteY1068" fmla="*/ 1437159 h 5561214"/>
                  <a:gd name="connsiteX1069" fmla="*/ 6919890 w 9950334"/>
                  <a:gd name="connsiteY1069" fmla="*/ 1445898 h 5561214"/>
                  <a:gd name="connsiteX1070" fmla="*/ 6867853 w 9950334"/>
                  <a:gd name="connsiteY1070" fmla="*/ 1704092 h 5561214"/>
                  <a:gd name="connsiteX1071" fmla="*/ 6826074 w 9950334"/>
                  <a:gd name="connsiteY1071" fmla="*/ 1738796 h 5561214"/>
                  <a:gd name="connsiteX1072" fmla="*/ 6826954 w 9950334"/>
                  <a:gd name="connsiteY1072" fmla="*/ 1751225 h 5561214"/>
                  <a:gd name="connsiteX1073" fmla="*/ 6558702 w 9950334"/>
                  <a:gd name="connsiteY1073" fmla="*/ 1841501 h 5561214"/>
                  <a:gd name="connsiteX1074" fmla="*/ 6518386 w 9950334"/>
                  <a:gd name="connsiteY1074" fmla="*/ 1823047 h 5561214"/>
                  <a:gd name="connsiteX1075" fmla="*/ 6506665 w 9950334"/>
                  <a:gd name="connsiteY1075" fmla="*/ 1829614 h 5561214"/>
                  <a:gd name="connsiteX1076" fmla="*/ 6299761 w 9950334"/>
                  <a:gd name="connsiteY1076" fmla="*/ 1647149 h 5561214"/>
                  <a:gd name="connsiteX1077" fmla="*/ 6289567 w 9950334"/>
                  <a:gd name="connsiteY1077" fmla="*/ 1586517 h 5561214"/>
                  <a:gd name="connsiteX1078" fmla="*/ 6277981 w 9950334"/>
                  <a:gd name="connsiteY1078" fmla="*/ 1580648 h 5561214"/>
                  <a:gd name="connsiteX1079" fmla="*/ 6333095 w 9950334"/>
                  <a:gd name="connsiteY1079" fmla="*/ 1307242 h 5561214"/>
                  <a:gd name="connsiteX1080" fmla="*/ 6364860 w 9950334"/>
                  <a:gd name="connsiteY1080" fmla="*/ 1277699 h 5561214"/>
                  <a:gd name="connsiteX1081" fmla="*/ 6364351 w 9950334"/>
                  <a:gd name="connsiteY1081" fmla="*/ 1270916 h 5561214"/>
                  <a:gd name="connsiteX1082" fmla="*/ 6643076 w 9950334"/>
                  <a:gd name="connsiteY1082" fmla="*/ 1177065 h 5561214"/>
                  <a:gd name="connsiteX1083" fmla="*/ 6677990 w 9950334"/>
                  <a:gd name="connsiteY1083" fmla="*/ 1192443 h 5561214"/>
                  <a:gd name="connsiteX1084" fmla="*/ 6688547 w 9950334"/>
                  <a:gd name="connsiteY1084" fmla="*/ 1186375 h 5561214"/>
                  <a:gd name="connsiteX1085" fmla="*/ 5732833 w 9950334"/>
                  <a:gd name="connsiteY1085" fmla="*/ 1192610 h 5561214"/>
                  <a:gd name="connsiteX1086" fmla="*/ 5747047 w 9950334"/>
                  <a:gd name="connsiteY1086" fmla="*/ 1191113 h 5561214"/>
                  <a:gd name="connsiteX1087" fmla="*/ 5771071 w 9950334"/>
                  <a:gd name="connsiteY1087" fmla="*/ 1148303 h 5561214"/>
                  <a:gd name="connsiteX1088" fmla="*/ 6029181 w 9950334"/>
                  <a:gd name="connsiteY1088" fmla="*/ 1061435 h 5561214"/>
                  <a:gd name="connsiteX1089" fmla="*/ 6086466 w 9950334"/>
                  <a:gd name="connsiteY1089" fmla="*/ 1084721 h 5561214"/>
                  <a:gd name="connsiteX1090" fmla="*/ 6100505 w 9950334"/>
                  <a:gd name="connsiteY1090" fmla="*/ 1075234 h 5561214"/>
                  <a:gd name="connsiteX1091" fmla="*/ 6308323 w 9950334"/>
                  <a:gd name="connsiteY1091" fmla="*/ 1258529 h 5561214"/>
                  <a:gd name="connsiteX1092" fmla="*/ 6315902 w 9950334"/>
                  <a:gd name="connsiteY1092" fmla="*/ 1301719 h 5561214"/>
                  <a:gd name="connsiteX1093" fmla="*/ 6324948 w 9950334"/>
                  <a:gd name="connsiteY1093" fmla="*/ 1306078 h 5561214"/>
                  <a:gd name="connsiteX1094" fmla="*/ 6269918 w 9950334"/>
                  <a:gd name="connsiteY1094" fmla="*/ 1578819 h 5561214"/>
                  <a:gd name="connsiteX1095" fmla="*/ 6220910 w 9950334"/>
                  <a:gd name="connsiteY1095" fmla="*/ 1615556 h 5561214"/>
                  <a:gd name="connsiteX1096" fmla="*/ 6221870 w 9950334"/>
                  <a:gd name="connsiteY1096" fmla="*/ 1632602 h 5561214"/>
                  <a:gd name="connsiteX1097" fmla="*/ 5957858 w 9950334"/>
                  <a:gd name="connsiteY1097" fmla="*/ 1721798 h 5561214"/>
                  <a:gd name="connsiteX1098" fmla="*/ 5916868 w 9950334"/>
                  <a:gd name="connsiteY1098" fmla="*/ 1706896 h 5561214"/>
                  <a:gd name="connsiteX1099" fmla="*/ 5910060 w 9950334"/>
                  <a:gd name="connsiteY1099" fmla="*/ 1711240 h 5561214"/>
                  <a:gd name="connsiteX1100" fmla="*/ 5701078 w 9950334"/>
                  <a:gd name="connsiteY1100" fmla="*/ 1527031 h 5561214"/>
                  <a:gd name="connsiteX1101" fmla="*/ 5692416 w 9950334"/>
                  <a:gd name="connsiteY1101" fmla="*/ 1466041 h 5561214"/>
                  <a:gd name="connsiteX1102" fmla="*/ 5679215 w 9950334"/>
                  <a:gd name="connsiteY1102" fmla="*/ 1459282 h 5561214"/>
                  <a:gd name="connsiteX1103" fmla="*/ 5327421 w 9950334"/>
                  <a:gd name="connsiteY1103" fmla="*/ 1654548 h 5561214"/>
                  <a:gd name="connsiteX1104" fmla="*/ 5344047 w 9950334"/>
                  <a:gd name="connsiteY1104" fmla="*/ 1653135 h 5561214"/>
                  <a:gd name="connsiteX1105" fmla="*/ 5369733 w 9950334"/>
                  <a:gd name="connsiteY1105" fmla="*/ 1606168 h 5561214"/>
                  <a:gd name="connsiteX1106" fmla="*/ 5626845 w 9950334"/>
                  <a:gd name="connsiteY1106" fmla="*/ 1519632 h 5561214"/>
                  <a:gd name="connsiteX1107" fmla="*/ 5679465 w 9950334"/>
                  <a:gd name="connsiteY1107" fmla="*/ 1542742 h 5561214"/>
                  <a:gd name="connsiteX1108" fmla="*/ 5695342 w 9950334"/>
                  <a:gd name="connsiteY1108" fmla="*/ 1533597 h 5561214"/>
                  <a:gd name="connsiteX1109" fmla="*/ 5904324 w 9950334"/>
                  <a:gd name="connsiteY1109" fmla="*/ 1717891 h 5561214"/>
                  <a:gd name="connsiteX1110" fmla="*/ 5912516 w 9950334"/>
                  <a:gd name="connsiteY1110" fmla="*/ 1760849 h 5561214"/>
                  <a:gd name="connsiteX1111" fmla="*/ 5920368 w 9950334"/>
                  <a:gd name="connsiteY1111" fmla="*/ 1764691 h 5561214"/>
                  <a:gd name="connsiteX1112" fmla="*/ 5864423 w 9950334"/>
                  <a:gd name="connsiteY1112" fmla="*/ 2041422 h 5561214"/>
                  <a:gd name="connsiteX1113" fmla="*/ 5820409 w 9950334"/>
                  <a:gd name="connsiteY1113" fmla="*/ 2073244 h 5561214"/>
                  <a:gd name="connsiteX1114" fmla="*/ 5821447 w 9950334"/>
                  <a:gd name="connsiteY1114" fmla="*/ 2090052 h 5561214"/>
                  <a:gd name="connsiteX1115" fmla="*/ 5554940 w 9950334"/>
                  <a:gd name="connsiteY1115" fmla="*/ 2179663 h 5561214"/>
                  <a:gd name="connsiteX1116" fmla="*/ 5517367 w 9950334"/>
                  <a:gd name="connsiteY1116" fmla="*/ 2163037 h 5561214"/>
                  <a:gd name="connsiteX1117" fmla="*/ 5506145 w 9950334"/>
                  <a:gd name="connsiteY1117" fmla="*/ 2169438 h 5561214"/>
                  <a:gd name="connsiteX1118" fmla="*/ 5303646 w 9950334"/>
                  <a:gd name="connsiteY1118" fmla="*/ 1990881 h 5561214"/>
                  <a:gd name="connsiteX1119" fmla="*/ 5290775 w 9950334"/>
                  <a:gd name="connsiteY1119" fmla="*/ 1921529 h 5561214"/>
                  <a:gd name="connsiteX1120" fmla="*/ 5275217 w 9950334"/>
                  <a:gd name="connsiteY1120" fmla="*/ 1914404 h 5561214"/>
                  <a:gd name="connsiteX1121" fmla="*/ 3507599 w 9950334"/>
                  <a:gd name="connsiteY1121" fmla="*/ 1628529 h 5561214"/>
                  <a:gd name="connsiteX1122" fmla="*/ 3496445 w 9950334"/>
                  <a:gd name="connsiteY1122" fmla="*/ 1558880 h 5561214"/>
                  <a:gd name="connsiteX1123" fmla="*/ 3479917 w 9950334"/>
                  <a:gd name="connsiteY1123" fmla="*/ 1551054 h 5561214"/>
                  <a:gd name="connsiteX1124" fmla="*/ 3531706 w 9950334"/>
                  <a:gd name="connsiteY1124" fmla="*/ 1294274 h 5561214"/>
                  <a:gd name="connsiteX1125" fmla="*/ 3582226 w 9950334"/>
                  <a:gd name="connsiteY1125" fmla="*/ 1259439 h 5561214"/>
                  <a:gd name="connsiteX1126" fmla="*/ 3581582 w 9950334"/>
                  <a:gd name="connsiteY1126" fmla="*/ 1240823 h 5561214"/>
                  <a:gd name="connsiteX1127" fmla="*/ 3840773 w 9950334"/>
                  <a:gd name="connsiteY1127" fmla="*/ 1153623 h 5561214"/>
                  <a:gd name="connsiteX1128" fmla="*/ 3885009 w 9950334"/>
                  <a:gd name="connsiteY1128" fmla="*/ 1169574 h 5561214"/>
                  <a:gd name="connsiteX1129" fmla="*/ 3892561 w 9950334"/>
                  <a:gd name="connsiteY1129" fmla="*/ 1164679 h 5561214"/>
                  <a:gd name="connsiteX1130" fmla="*/ 4093812 w 9950334"/>
                  <a:gd name="connsiteY1130" fmla="*/ 1341490 h 5561214"/>
                  <a:gd name="connsiteX1131" fmla="*/ 4104058 w 9950334"/>
                  <a:gd name="connsiteY1131" fmla="*/ 1411278 h 5561214"/>
                  <a:gd name="connsiteX1132" fmla="*/ 4121660 w 9950334"/>
                  <a:gd name="connsiteY1132" fmla="*/ 1419630 h 5561214"/>
                  <a:gd name="connsiteX1133" fmla="*/ 4067627 w 9950334"/>
                  <a:gd name="connsiteY1133" fmla="*/ 1687633 h 5561214"/>
                  <a:gd name="connsiteX1134" fmla="*/ 4058400 w 9950334"/>
                  <a:gd name="connsiteY1134" fmla="*/ 1688963 h 5561214"/>
                  <a:gd name="connsiteX1135" fmla="*/ 4035374 w 9950334"/>
                  <a:gd name="connsiteY1135" fmla="*/ 1724209 h 5561214"/>
                  <a:gd name="connsiteX1136" fmla="*/ 3763547 w 9950334"/>
                  <a:gd name="connsiteY1136" fmla="*/ 1815649 h 5561214"/>
                  <a:gd name="connsiteX1137" fmla="*/ 3717578 w 9950334"/>
                  <a:gd name="connsiteY1137" fmla="*/ 1796612 h 5561214"/>
                  <a:gd name="connsiteX1138" fmla="*/ 3705857 w 9950334"/>
                  <a:gd name="connsiteY1138" fmla="*/ 1802847 h 5561214"/>
                  <a:gd name="connsiteX1139" fmla="*/ 3695965 w 9950334"/>
                  <a:gd name="connsiteY1139" fmla="*/ 2202107 h 5561214"/>
                  <a:gd name="connsiteX1140" fmla="*/ 3686988 w 9950334"/>
                  <a:gd name="connsiteY1140" fmla="*/ 2141164 h 5561214"/>
                  <a:gd name="connsiteX1141" fmla="*/ 3674186 w 9950334"/>
                  <a:gd name="connsiteY1141" fmla="*/ 2134608 h 5561214"/>
                  <a:gd name="connsiteX1142" fmla="*/ 3726971 w 9950334"/>
                  <a:gd name="connsiteY1142" fmla="*/ 1872757 h 5561214"/>
                  <a:gd name="connsiteX1143" fmla="*/ 3740521 w 9950334"/>
                  <a:gd name="connsiteY1143" fmla="*/ 1871094 h 5561214"/>
                  <a:gd name="connsiteX1144" fmla="*/ 3766124 w 9950334"/>
                  <a:gd name="connsiteY1144" fmla="*/ 1823961 h 5561214"/>
                  <a:gd name="connsiteX1145" fmla="*/ 4036953 w 9950334"/>
                  <a:gd name="connsiteY1145" fmla="*/ 1732521 h 5561214"/>
                  <a:gd name="connsiteX1146" fmla="*/ 4078018 w 9950334"/>
                  <a:gd name="connsiteY1146" fmla="*/ 1752555 h 5561214"/>
                  <a:gd name="connsiteX1147" fmla="*/ 4089988 w 9950334"/>
                  <a:gd name="connsiteY1147" fmla="*/ 1745738 h 5561214"/>
                  <a:gd name="connsiteX1148" fmla="*/ 4297391 w 9950334"/>
                  <a:gd name="connsiteY1148" fmla="*/ 1928618 h 5561214"/>
                  <a:gd name="connsiteX1149" fmla="*/ 4305054 w 9950334"/>
                  <a:gd name="connsiteY1149" fmla="*/ 1982744 h 5561214"/>
                  <a:gd name="connsiteX1150" fmla="*/ 4318090 w 9950334"/>
                  <a:gd name="connsiteY1150" fmla="*/ 1989135 h 5561214"/>
                  <a:gd name="connsiteX1151" fmla="*/ 4263808 w 9950334"/>
                  <a:gd name="connsiteY1151" fmla="*/ 2258301 h 5561214"/>
                  <a:gd name="connsiteX1152" fmla="*/ 4222865 w 9950334"/>
                  <a:gd name="connsiteY1152" fmla="*/ 2294167 h 5561214"/>
                  <a:gd name="connsiteX1153" fmla="*/ 4223823 w 9950334"/>
                  <a:gd name="connsiteY1153" fmla="*/ 2305601 h 5561214"/>
                  <a:gd name="connsiteX1154" fmla="*/ 3955156 w 9950334"/>
                  <a:gd name="connsiteY1154" fmla="*/ 2396043 h 5561214"/>
                  <a:gd name="connsiteX1155" fmla="*/ 3914756 w 9950334"/>
                  <a:gd name="connsiteY1155" fmla="*/ 2377423 h 5561214"/>
                  <a:gd name="connsiteX1156" fmla="*/ 3902786 w 9950334"/>
                  <a:gd name="connsiteY1156" fmla="*/ 2384239 h 5561214"/>
                  <a:gd name="connsiteX1157" fmla="*/ 4292154 w 9950334"/>
                  <a:gd name="connsiteY1157" fmla="*/ 2320314 h 5561214"/>
                  <a:gd name="connsiteX1158" fmla="*/ 4285312 w 9950334"/>
                  <a:gd name="connsiteY1158" fmla="*/ 2266079 h 5561214"/>
                  <a:gd name="connsiteX1159" fmla="*/ 4272286 w 9950334"/>
                  <a:gd name="connsiteY1159" fmla="*/ 2259465 h 5561214"/>
                  <a:gd name="connsiteX1160" fmla="*/ 4326569 w 9950334"/>
                  <a:gd name="connsiteY1160" fmla="*/ 1990133 h 5561214"/>
                  <a:gd name="connsiteX1161" fmla="*/ 4340118 w 9950334"/>
                  <a:gd name="connsiteY1161" fmla="*/ 1988470 h 5561214"/>
                  <a:gd name="connsiteX1162" fmla="*/ 4366221 w 9950334"/>
                  <a:gd name="connsiteY1162" fmla="*/ 1943831 h 5561214"/>
                  <a:gd name="connsiteX1163" fmla="*/ 4625827 w 9950334"/>
                  <a:gd name="connsiteY1163" fmla="*/ 1856464 h 5561214"/>
                  <a:gd name="connsiteX1164" fmla="*/ 4679195 w 9950334"/>
                  <a:gd name="connsiteY1164" fmla="*/ 1881402 h 5561214"/>
                  <a:gd name="connsiteX1165" fmla="*/ 4695155 w 9950334"/>
                  <a:gd name="connsiteY1165" fmla="*/ 1872175 h 5561214"/>
                  <a:gd name="connsiteX1166" fmla="*/ 4893497 w 9950334"/>
                  <a:gd name="connsiteY1166" fmla="*/ 2046742 h 5561214"/>
                  <a:gd name="connsiteX1167" fmla="*/ 4899656 w 9950334"/>
                  <a:gd name="connsiteY1167" fmla="*/ 2108389 h 5561214"/>
                  <a:gd name="connsiteX1168" fmla="*/ 4914943 w 9950334"/>
                  <a:gd name="connsiteY1168" fmla="*/ 2116486 h 5561214"/>
                  <a:gd name="connsiteX1169" fmla="*/ 4861077 w 9950334"/>
                  <a:gd name="connsiteY1169" fmla="*/ 2384156 h 5561214"/>
                  <a:gd name="connsiteX1170" fmla="*/ 4849522 w 9950334"/>
                  <a:gd name="connsiteY1170" fmla="*/ 2385486 h 5561214"/>
                  <a:gd name="connsiteX1171" fmla="*/ 4827244 w 9950334"/>
                  <a:gd name="connsiteY1171" fmla="*/ 2424306 h 5561214"/>
                  <a:gd name="connsiteX1172" fmla="*/ 4560322 w 9950334"/>
                  <a:gd name="connsiteY1172" fmla="*/ 2514167 h 5561214"/>
                  <a:gd name="connsiteX1173" fmla="*/ 4510518 w 9950334"/>
                  <a:gd name="connsiteY1173" fmla="*/ 2492799 h 5561214"/>
                  <a:gd name="connsiteX1174" fmla="*/ 4497644 w 9950334"/>
                  <a:gd name="connsiteY1174" fmla="*/ 2501282 h 5561214"/>
                  <a:gd name="connsiteX1175" fmla="*/ 4886182 w 9950334"/>
                  <a:gd name="connsiteY1175" fmla="*/ 2437357 h 5561214"/>
                  <a:gd name="connsiteX1176" fmla="*/ 4879229 w 9950334"/>
                  <a:gd name="connsiteY1176" fmla="*/ 2390850 h 5561214"/>
                  <a:gd name="connsiteX1177" fmla="*/ 4869556 w 9950334"/>
                  <a:gd name="connsiteY1177" fmla="*/ 2385901 h 5561214"/>
                  <a:gd name="connsiteX1178" fmla="*/ 4923506 w 9950334"/>
                  <a:gd name="connsiteY1178" fmla="*/ 2118315 h 5561214"/>
                  <a:gd name="connsiteX1179" fmla="*/ 4970768 w 9950334"/>
                  <a:gd name="connsiteY1179" fmla="*/ 2078805 h 5561214"/>
                  <a:gd name="connsiteX1180" fmla="*/ 4969309 w 9950334"/>
                  <a:gd name="connsiteY1180" fmla="*/ 2063118 h 5561214"/>
                  <a:gd name="connsiteX1181" fmla="*/ 5215698 w 9950334"/>
                  <a:gd name="connsiteY1181" fmla="*/ 1979991 h 5561214"/>
                  <a:gd name="connsiteX1182" fmla="*/ 5280085 w 9950334"/>
                  <a:gd name="connsiteY1182" fmla="*/ 2008793 h 5561214"/>
                  <a:gd name="connsiteX1183" fmla="*/ 5297412 w 9950334"/>
                  <a:gd name="connsiteY1183" fmla="*/ 1997614 h 5561214"/>
                  <a:gd name="connsiteX1184" fmla="*/ 5499910 w 9950334"/>
                  <a:gd name="connsiteY1184" fmla="*/ 2176172 h 5561214"/>
                  <a:gd name="connsiteX1185" fmla="*/ 5509781 w 9950334"/>
                  <a:gd name="connsiteY1185" fmla="*/ 2218896 h 5561214"/>
                  <a:gd name="connsiteX1186" fmla="*/ 5516536 w 9950334"/>
                  <a:gd name="connsiteY1186" fmla="*/ 2222058 h 5561214"/>
                  <a:gd name="connsiteX1187" fmla="*/ 5458347 w 9950334"/>
                  <a:gd name="connsiteY1187" fmla="*/ 2508764 h 5561214"/>
                  <a:gd name="connsiteX1188" fmla="*/ 5445711 w 9950334"/>
                  <a:gd name="connsiteY1188" fmla="*/ 2510011 h 5561214"/>
                  <a:gd name="connsiteX1189" fmla="*/ 5424597 w 9950334"/>
                  <a:gd name="connsiteY1189" fmla="*/ 2545423 h 5561214"/>
                  <a:gd name="connsiteX1190" fmla="*/ 5162580 w 9950334"/>
                  <a:gd name="connsiteY1190" fmla="*/ 2633621 h 5561214"/>
                  <a:gd name="connsiteX1191" fmla="*/ 5111290 w 9950334"/>
                  <a:gd name="connsiteY1191" fmla="*/ 2611260 h 5561214"/>
                  <a:gd name="connsiteX1192" fmla="*/ 5094665 w 9950334"/>
                  <a:gd name="connsiteY1192" fmla="*/ 2621069 h 5561214"/>
                  <a:gd name="connsiteX1193" fmla="*/ 5118938 w 9950334"/>
                  <a:gd name="connsiteY1193" fmla="*/ 2696548 h 5561214"/>
                  <a:gd name="connsiteX1194" fmla="*/ 5137974 w 9950334"/>
                  <a:gd name="connsiteY1194" fmla="*/ 2694969 h 5561214"/>
                  <a:gd name="connsiteX1195" fmla="*/ 5166819 w 9950334"/>
                  <a:gd name="connsiteY1195" fmla="*/ 2641518 h 5561214"/>
                  <a:gd name="connsiteX1196" fmla="*/ 5428421 w 9950334"/>
                  <a:gd name="connsiteY1196" fmla="*/ 2553486 h 5561214"/>
                  <a:gd name="connsiteX1197" fmla="*/ 5465412 w 9950334"/>
                  <a:gd name="connsiteY1197" fmla="*/ 2569696 h 5561214"/>
                  <a:gd name="connsiteX1198" fmla="*/ 5477632 w 9950334"/>
                  <a:gd name="connsiteY1198" fmla="*/ 2562298 h 5561214"/>
                  <a:gd name="connsiteX1199" fmla="*/ 5683954 w 9950334"/>
                  <a:gd name="connsiteY1199" fmla="*/ 2744263 h 5561214"/>
                  <a:gd name="connsiteX1200" fmla="*/ 5696632 w 9950334"/>
                  <a:gd name="connsiteY1200" fmla="*/ 2813651 h 5561214"/>
                  <a:gd name="connsiteX1201" fmla="*/ 5708892 w 9950334"/>
                  <a:gd name="connsiteY1201" fmla="*/ 2819826 h 5561214"/>
                  <a:gd name="connsiteX1202" fmla="*/ 5656605 w 9950334"/>
                  <a:gd name="connsiteY1202" fmla="*/ 3078684 h 5561214"/>
                  <a:gd name="connsiteX1203" fmla="*/ 5642723 w 9950334"/>
                  <a:gd name="connsiteY1203" fmla="*/ 3080347 h 5561214"/>
                  <a:gd name="connsiteX1204" fmla="*/ 5616787 w 9950334"/>
                  <a:gd name="connsiteY1204" fmla="*/ 3125984 h 5561214"/>
                  <a:gd name="connsiteX1205" fmla="*/ 5347870 w 9950334"/>
                  <a:gd name="connsiteY1205" fmla="*/ 3216426 h 5561214"/>
                  <a:gd name="connsiteX1206" fmla="*/ 5310878 w 9950334"/>
                  <a:gd name="connsiteY1206" fmla="*/ 3201130 h 5561214"/>
                  <a:gd name="connsiteX1207" fmla="*/ 5299656 w 9950334"/>
                  <a:gd name="connsiteY1207" fmla="*/ 3207531 h 5561214"/>
                  <a:gd name="connsiteX1208" fmla="*/ 5086352 w 9950334"/>
                  <a:gd name="connsiteY1208" fmla="*/ 3019414 h 5561214"/>
                  <a:gd name="connsiteX1209" fmla="*/ 5079693 w 9950334"/>
                  <a:gd name="connsiteY1209" fmla="*/ 2965038 h 5561214"/>
                  <a:gd name="connsiteX1210" fmla="*/ 5065903 w 9950334"/>
                  <a:gd name="connsiteY1210" fmla="*/ 2958150 h 5561214"/>
                  <a:gd name="connsiteX1211" fmla="*/ 4119914 w 9950334"/>
                  <a:gd name="connsiteY1211" fmla="*/ 3019996 h 5561214"/>
                  <a:gd name="connsiteX1212" fmla="*/ 4132882 w 9950334"/>
                  <a:gd name="connsiteY1212" fmla="*/ 3018832 h 5561214"/>
                  <a:gd name="connsiteX1213" fmla="*/ 4153747 w 9950334"/>
                  <a:gd name="connsiteY1213" fmla="*/ 2982423 h 5561214"/>
                  <a:gd name="connsiteX1214" fmla="*/ 4420752 w 9950334"/>
                  <a:gd name="connsiteY1214" fmla="*/ 2892563 h 5561214"/>
                  <a:gd name="connsiteX1215" fmla="*/ 4467386 w 9950334"/>
                  <a:gd name="connsiteY1215" fmla="*/ 2913095 h 5561214"/>
                  <a:gd name="connsiteX1216" fmla="*/ 4482016 w 9950334"/>
                  <a:gd name="connsiteY1216" fmla="*/ 2904782 h 5561214"/>
                  <a:gd name="connsiteX1217" fmla="*/ 4694906 w 9950334"/>
                  <a:gd name="connsiteY1217" fmla="*/ 3092400 h 5561214"/>
                  <a:gd name="connsiteX1218" fmla="*/ 4702793 w 9950334"/>
                  <a:gd name="connsiteY1218" fmla="*/ 3135416 h 5561214"/>
                  <a:gd name="connsiteX1219" fmla="*/ 4710284 w 9950334"/>
                  <a:gd name="connsiteY1219" fmla="*/ 3139201 h 5561214"/>
                  <a:gd name="connsiteX1220" fmla="*/ 4653924 w 9950334"/>
                  <a:gd name="connsiteY1220" fmla="*/ 3418675 h 5561214"/>
                  <a:gd name="connsiteX1221" fmla="*/ 4640707 w 9950334"/>
                  <a:gd name="connsiteY1221" fmla="*/ 3420338 h 5561214"/>
                  <a:gd name="connsiteX1222" fmla="*/ 4614272 w 9950334"/>
                  <a:gd name="connsiteY1222" fmla="*/ 3463730 h 5561214"/>
                  <a:gd name="connsiteX1223" fmla="*/ 4353751 w 9950334"/>
                  <a:gd name="connsiteY1223" fmla="*/ 3551512 h 5561214"/>
                  <a:gd name="connsiteX1224" fmla="*/ 4296366 w 9950334"/>
                  <a:gd name="connsiteY1224" fmla="*/ 3529440 h 5561214"/>
                  <a:gd name="connsiteX1225" fmla="*/ 4286252 w 9950334"/>
                  <a:gd name="connsiteY1225" fmla="*/ 3535718 h 5561214"/>
                  <a:gd name="connsiteX1226" fmla="*/ 4080096 w 9950334"/>
                  <a:gd name="connsiteY1226" fmla="*/ 3353919 h 5561214"/>
                  <a:gd name="connsiteX1227" fmla="*/ 4072554 w 9950334"/>
                  <a:gd name="connsiteY1227" fmla="*/ 3310962 h 5561214"/>
                  <a:gd name="connsiteX1228" fmla="*/ 4062307 w 9950334"/>
                  <a:gd name="connsiteY1228" fmla="*/ 3306287 h 5561214"/>
                  <a:gd name="connsiteX1229" fmla="*/ 3712175 w 9950334"/>
                  <a:gd name="connsiteY1229" fmla="*/ 3493822 h 5561214"/>
                  <a:gd name="connsiteX1230" fmla="*/ 3732707 w 9950334"/>
                  <a:gd name="connsiteY1230" fmla="*/ 3492575 h 5561214"/>
                  <a:gd name="connsiteX1231" fmla="*/ 3761230 w 9950334"/>
                  <a:gd name="connsiteY1231" fmla="*/ 3437577 h 5561214"/>
                  <a:gd name="connsiteX1232" fmla="*/ 3761220 w 9950334"/>
                  <a:gd name="connsiteY1232" fmla="*/ 3437544 h 5561214"/>
                  <a:gd name="connsiteX1233" fmla="*/ 3761220 w 9950334"/>
                  <a:gd name="connsiteY1233" fmla="*/ 3437545 h 5561214"/>
                  <a:gd name="connsiteX1234" fmla="*/ 4025897 w 9950334"/>
                  <a:gd name="connsiteY1234" fmla="*/ 3348432 h 5561214"/>
                  <a:gd name="connsiteX1235" fmla="*/ 4063969 w 9950334"/>
                  <a:gd name="connsiteY1235" fmla="*/ 3366305 h 5561214"/>
                  <a:gd name="connsiteX1236" fmla="*/ 4074194 w 9950334"/>
                  <a:gd name="connsiteY1236" fmla="*/ 3360735 h 5561214"/>
                  <a:gd name="connsiteX1237" fmla="*/ 4280017 w 9950334"/>
                  <a:gd name="connsiteY1237" fmla="*/ 3542202 h 5561214"/>
                  <a:gd name="connsiteX1238" fmla="*/ 4286538 w 9950334"/>
                  <a:gd name="connsiteY1238" fmla="*/ 3603575 h 5561214"/>
                  <a:gd name="connsiteX1239" fmla="*/ 4303293 w 9950334"/>
                  <a:gd name="connsiteY1239" fmla="*/ 3611945 h 5561214"/>
                  <a:gd name="connsiteX1240" fmla="*/ 4248845 w 9950334"/>
                  <a:gd name="connsiteY1240" fmla="*/ 3882276 h 5561214"/>
                  <a:gd name="connsiteX1241" fmla="*/ 4237290 w 9950334"/>
                  <a:gd name="connsiteY1241" fmla="*/ 3883606 h 5561214"/>
                  <a:gd name="connsiteX1242" fmla="*/ 4216508 w 9950334"/>
                  <a:gd name="connsiteY1242" fmla="*/ 3920182 h 5561214"/>
                  <a:gd name="connsiteX1243" fmla="*/ 3940775 w 9950334"/>
                  <a:gd name="connsiteY1243" fmla="*/ 4013035 h 5561214"/>
                  <a:gd name="connsiteX1244" fmla="*/ 3902037 w 9950334"/>
                  <a:gd name="connsiteY1244" fmla="*/ 3997906 h 5561214"/>
                  <a:gd name="connsiteX1245" fmla="*/ 3892478 w 9950334"/>
                  <a:gd name="connsiteY1245" fmla="*/ 4002893 h 5561214"/>
                  <a:gd name="connsiteX1246" fmla="*/ 3683164 w 9950334"/>
                  <a:gd name="connsiteY1246" fmla="*/ 3818351 h 5561214"/>
                  <a:gd name="connsiteX1247" fmla="*/ 3675523 w 9950334"/>
                  <a:gd name="connsiteY1247" fmla="*/ 3756870 h 5561214"/>
                  <a:gd name="connsiteX1248" fmla="*/ 3660802 w 9950334"/>
                  <a:gd name="connsiteY1248" fmla="*/ 3749355 h 5561214"/>
                  <a:gd name="connsiteX1249" fmla="*/ 2710907 w 9950334"/>
                  <a:gd name="connsiteY1249" fmla="*/ 3829407 h 5561214"/>
                  <a:gd name="connsiteX1250" fmla="*/ 2731606 w 9950334"/>
                  <a:gd name="connsiteY1250" fmla="*/ 3828159 h 5561214"/>
                  <a:gd name="connsiteX1251" fmla="*/ 2760285 w 9950334"/>
                  <a:gd name="connsiteY1251" fmla="*/ 3773794 h 5561214"/>
                  <a:gd name="connsiteX1252" fmla="*/ 3004845 w 9950334"/>
                  <a:gd name="connsiteY1252" fmla="*/ 3691914 h 5561214"/>
                  <a:gd name="connsiteX1253" fmla="*/ 3068660 w 9950334"/>
                  <a:gd name="connsiteY1253" fmla="*/ 3721963 h 5561214"/>
                  <a:gd name="connsiteX1254" fmla="*/ 3087141 w 9950334"/>
                  <a:gd name="connsiteY1254" fmla="*/ 3710202 h 5561214"/>
                  <a:gd name="connsiteX1255" fmla="*/ 3288392 w 9950334"/>
                  <a:gd name="connsiteY1255" fmla="*/ 3887596 h 5561214"/>
                  <a:gd name="connsiteX1256" fmla="*/ 3294708 w 9950334"/>
                  <a:gd name="connsiteY1256" fmla="*/ 3934193 h 5561214"/>
                  <a:gd name="connsiteX1257" fmla="*/ 3303438 w 9950334"/>
                  <a:gd name="connsiteY1257" fmla="*/ 3938968 h 5561214"/>
                  <a:gd name="connsiteX1258" fmla="*/ 3249405 w 9950334"/>
                  <a:gd name="connsiteY1258" fmla="*/ 4207054 h 5561214"/>
                  <a:gd name="connsiteX1259" fmla="*/ 3203476 w 9950334"/>
                  <a:gd name="connsiteY1259" fmla="*/ 4247929 h 5561214"/>
                  <a:gd name="connsiteX1260" fmla="*/ 3204600 w 9950334"/>
                  <a:gd name="connsiteY1260" fmla="*/ 4260588 h 5561214"/>
                  <a:gd name="connsiteX1261" fmla="*/ 2950978 w 9950334"/>
                  <a:gd name="connsiteY1261" fmla="*/ 4345960 h 5561214"/>
                  <a:gd name="connsiteX1262" fmla="*/ 2896779 w 9950334"/>
                  <a:gd name="connsiteY1262" fmla="*/ 4319525 h 5561214"/>
                  <a:gd name="connsiteX1263" fmla="*/ 2879323 w 9950334"/>
                  <a:gd name="connsiteY1263" fmla="*/ 4330332 h 5561214"/>
                  <a:gd name="connsiteX1264" fmla="*/ 2671505 w 9950334"/>
                  <a:gd name="connsiteY1264" fmla="*/ 4147452 h 5561214"/>
                  <a:gd name="connsiteX1265" fmla="*/ 2675412 w 9950334"/>
                  <a:gd name="connsiteY1265" fmla="*/ 4120934 h 5561214"/>
                  <a:gd name="connsiteX1266" fmla="*/ 2656292 w 9950334"/>
                  <a:gd name="connsiteY1266" fmla="*/ 4101150 h 5561214"/>
                  <a:gd name="connsiteX1267" fmla="*/ 2274073 w 9950334"/>
                  <a:gd name="connsiteY1267" fmla="*/ 4218692 h 5561214"/>
                  <a:gd name="connsiteX1268" fmla="*/ 2284043 w 9950334"/>
                  <a:gd name="connsiteY1268" fmla="*/ 4279600 h 5561214"/>
                  <a:gd name="connsiteX1269" fmla="*/ 2297182 w 9950334"/>
                  <a:gd name="connsiteY1269" fmla="*/ 4286025 h 5561214"/>
                  <a:gd name="connsiteX1270" fmla="*/ 2261604 w 9950334"/>
                  <a:gd name="connsiteY1270" fmla="*/ 4466079 h 5561214"/>
                  <a:gd name="connsiteX1271" fmla="*/ 2243898 w 9950334"/>
                  <a:gd name="connsiteY1271" fmla="*/ 4553944 h 5561214"/>
                  <a:gd name="connsiteX1272" fmla="*/ 2230930 w 9950334"/>
                  <a:gd name="connsiteY1272" fmla="*/ 4555524 h 5561214"/>
                  <a:gd name="connsiteX1273" fmla="*/ 2205992 w 9950334"/>
                  <a:gd name="connsiteY1273" fmla="*/ 4598002 h 5561214"/>
                  <a:gd name="connsiteX1274" fmla="*/ 1934498 w 9950334"/>
                  <a:gd name="connsiteY1274" fmla="*/ 4690522 h 5561214"/>
                  <a:gd name="connsiteX1275" fmla="*/ 1896675 w 9950334"/>
                  <a:gd name="connsiteY1275" fmla="*/ 4673066 h 5561214"/>
                  <a:gd name="connsiteX1276" fmla="*/ 1885287 w 9950334"/>
                  <a:gd name="connsiteY1276" fmla="*/ 4679550 h 5561214"/>
                  <a:gd name="connsiteX1277" fmla="*/ 1673395 w 9950334"/>
                  <a:gd name="connsiteY1277" fmla="*/ 4494176 h 5561214"/>
                  <a:gd name="connsiteX1278" fmla="*/ 1678050 w 9950334"/>
                  <a:gd name="connsiteY1278" fmla="*/ 4462753 h 5561214"/>
                  <a:gd name="connsiteX1279" fmla="*/ 1653112 w 9950334"/>
                  <a:gd name="connsiteY1279" fmla="*/ 4438480 h 5561214"/>
                  <a:gd name="connsiteX1280" fmla="*/ 1708891 w 9950334"/>
                  <a:gd name="connsiteY1280" fmla="*/ 4156263 h 5561214"/>
                  <a:gd name="connsiteX1281" fmla="*/ 1742073 w 9950334"/>
                  <a:gd name="connsiteY1281" fmla="*/ 4127777 h 5561214"/>
                  <a:gd name="connsiteX1282" fmla="*/ 1741560 w 9950334"/>
                  <a:gd name="connsiteY1282" fmla="*/ 4119354 h 5561214"/>
                  <a:gd name="connsiteX1283" fmla="*/ 2005489 w 9950334"/>
                  <a:gd name="connsiteY1283" fmla="*/ 4029494 h 5561214"/>
                  <a:gd name="connsiteX1284" fmla="*/ 2058607 w 9950334"/>
                  <a:gd name="connsiteY1284" fmla="*/ 4053850 h 5561214"/>
                  <a:gd name="connsiteX1285" fmla="*/ 2074651 w 9950334"/>
                  <a:gd name="connsiteY1285" fmla="*/ 4044623 h 5561214"/>
                  <a:gd name="connsiteX1286" fmla="*/ 872963 w 9950334"/>
                  <a:gd name="connsiteY1286" fmla="*/ 3793495 h 5561214"/>
                  <a:gd name="connsiteX1287" fmla="*/ 876787 w 9950334"/>
                  <a:gd name="connsiteY1287" fmla="*/ 3766729 h 5561214"/>
                  <a:gd name="connsiteX1288" fmla="*/ 856670 w 9950334"/>
                  <a:gd name="connsiteY1288" fmla="*/ 3746529 h 5561214"/>
                  <a:gd name="connsiteX1289" fmla="*/ 910038 w 9950334"/>
                  <a:gd name="connsiteY1289" fmla="*/ 3475783 h 5561214"/>
                  <a:gd name="connsiteX1290" fmla="*/ 929240 w 9950334"/>
                  <a:gd name="connsiteY1290" fmla="*/ 3474287 h 5561214"/>
                  <a:gd name="connsiteX1291" fmla="*/ 957919 w 9950334"/>
                  <a:gd name="connsiteY1291" fmla="*/ 3420088 h 5561214"/>
                  <a:gd name="connsiteX1292" fmla="*/ 1219437 w 9950334"/>
                  <a:gd name="connsiteY1292" fmla="*/ 3331059 h 5561214"/>
                  <a:gd name="connsiteX1293" fmla="*/ 1259089 w 9950334"/>
                  <a:gd name="connsiteY1293" fmla="*/ 3347684 h 5561214"/>
                  <a:gd name="connsiteX1294" fmla="*/ 1270727 w 9950334"/>
                  <a:gd name="connsiteY1294" fmla="*/ 3341200 h 5561214"/>
                  <a:gd name="connsiteX1295" fmla="*/ 1487357 w 9950334"/>
                  <a:gd name="connsiteY1295" fmla="*/ 3530730 h 5561214"/>
                  <a:gd name="connsiteX1296" fmla="*/ 1483283 w 9950334"/>
                  <a:gd name="connsiteY1296" fmla="*/ 3557497 h 5561214"/>
                  <a:gd name="connsiteX1297" fmla="*/ 1504148 w 9950334"/>
                  <a:gd name="connsiteY1297" fmla="*/ 3578029 h 5561214"/>
                  <a:gd name="connsiteX1298" fmla="*/ 1451362 w 9950334"/>
                  <a:gd name="connsiteY1298" fmla="*/ 3844785 h 5561214"/>
                  <a:gd name="connsiteX1299" fmla="*/ 1430830 w 9950334"/>
                  <a:gd name="connsiteY1299" fmla="*/ 3846780 h 5561214"/>
                  <a:gd name="connsiteX1300" fmla="*/ 1397579 w 9950334"/>
                  <a:gd name="connsiteY1300" fmla="*/ 3906217 h 5561214"/>
                  <a:gd name="connsiteX1301" fmla="*/ 1151107 w 9950334"/>
                  <a:gd name="connsiteY1301" fmla="*/ 3990008 h 5561214"/>
                  <a:gd name="connsiteX1302" fmla="*/ 1095096 w 9950334"/>
                  <a:gd name="connsiteY1302" fmla="*/ 3965518 h 5561214"/>
                  <a:gd name="connsiteX1303" fmla="*/ 1080282 w 9950334"/>
                  <a:gd name="connsiteY1303" fmla="*/ 3975212 h 5561214"/>
                  <a:gd name="connsiteX1304" fmla="*/ 1107548 w 9950334"/>
                  <a:gd name="connsiteY1304" fmla="*/ 4050110 h 5561214"/>
                  <a:gd name="connsiteX1305" fmla="*/ 1154477 w 9950334"/>
                  <a:gd name="connsiteY1305" fmla="*/ 4010024 h 5561214"/>
                  <a:gd name="connsiteX1306" fmla="*/ 1153850 w 9950334"/>
                  <a:gd name="connsiteY1306" fmla="*/ 3998488 h 5561214"/>
                  <a:gd name="connsiteX1307" fmla="*/ 1400489 w 9950334"/>
                  <a:gd name="connsiteY1307" fmla="*/ 3914446 h 5561214"/>
                  <a:gd name="connsiteX1308" fmla="*/ 1466413 w 9950334"/>
                  <a:gd name="connsiteY1308" fmla="*/ 3939532 h 5561214"/>
                  <a:gd name="connsiteX1309" fmla="*/ 1480291 w 9950334"/>
                  <a:gd name="connsiteY1309" fmla="*/ 3930240 h 5561214"/>
                  <a:gd name="connsiteX1310" fmla="*/ 1684784 w 9950334"/>
                  <a:gd name="connsiteY1310" fmla="*/ 4109213 h 5561214"/>
                  <a:gd name="connsiteX1311" fmla="*/ 1694987 w 9950334"/>
                  <a:gd name="connsiteY1311" fmla="*/ 4151618 h 5561214"/>
                  <a:gd name="connsiteX1312" fmla="*/ 1700245 w 9950334"/>
                  <a:gd name="connsiteY1312" fmla="*/ 4154185 h 5561214"/>
                  <a:gd name="connsiteX1313" fmla="*/ 1644301 w 9950334"/>
                  <a:gd name="connsiteY1313" fmla="*/ 4436818 h 5561214"/>
                  <a:gd name="connsiteX1314" fmla="*/ 1631749 w 9950334"/>
                  <a:gd name="connsiteY1314" fmla="*/ 4438314 h 5561214"/>
                  <a:gd name="connsiteX1315" fmla="*/ 1606810 w 9950334"/>
                  <a:gd name="connsiteY1315" fmla="*/ 4479878 h 5561214"/>
                  <a:gd name="connsiteX1316" fmla="*/ 1342299 w 9950334"/>
                  <a:gd name="connsiteY1316" fmla="*/ 4570653 h 5561214"/>
                  <a:gd name="connsiteX1317" fmla="*/ 1293762 w 9950334"/>
                  <a:gd name="connsiteY1317" fmla="*/ 4552773 h 5561214"/>
                  <a:gd name="connsiteX1318" fmla="*/ 1284110 w 9950334"/>
                  <a:gd name="connsiteY1318" fmla="*/ 4559264 h 5561214"/>
                  <a:gd name="connsiteX1319" fmla="*/ 1079617 w 9950334"/>
                  <a:gd name="connsiteY1319" fmla="*/ 4380291 h 5561214"/>
                  <a:gd name="connsiteX1320" fmla="*/ 1071947 w 9950334"/>
                  <a:gd name="connsiteY1320" fmla="*/ 4319051 h 5561214"/>
                  <a:gd name="connsiteX1321" fmla="*/ 1055926 w 9950334"/>
                  <a:gd name="connsiteY1321" fmla="*/ 4311212 h 5561214"/>
                  <a:gd name="connsiteX1322" fmla="*/ 108192 w 9950334"/>
                  <a:gd name="connsiteY1322" fmla="*/ 4381871 h 5561214"/>
                  <a:gd name="connsiteX1323" fmla="*/ 120744 w 9950334"/>
                  <a:gd name="connsiteY1323" fmla="*/ 4380541 h 5561214"/>
                  <a:gd name="connsiteX1324" fmla="*/ 141526 w 9950334"/>
                  <a:gd name="connsiteY1324" fmla="*/ 4343300 h 5561214"/>
                  <a:gd name="connsiteX1325" fmla="*/ 409528 w 9950334"/>
                  <a:gd name="connsiteY1325" fmla="*/ 4251859 h 5561214"/>
                  <a:gd name="connsiteX1326" fmla="*/ 454085 w 9950334"/>
                  <a:gd name="connsiteY1326" fmla="*/ 4271976 h 5561214"/>
                  <a:gd name="connsiteX1327" fmla="*/ 468881 w 9950334"/>
                  <a:gd name="connsiteY1327" fmla="*/ 4262832 h 5561214"/>
                  <a:gd name="connsiteX1328" fmla="*/ 673374 w 9950334"/>
                  <a:gd name="connsiteY1328" fmla="*/ 4441639 h 5561214"/>
                  <a:gd name="connsiteX1329" fmla="*/ 666724 w 9950334"/>
                  <a:gd name="connsiteY1329" fmla="*/ 4480875 h 5561214"/>
                  <a:gd name="connsiteX1330" fmla="*/ 696317 w 9950334"/>
                  <a:gd name="connsiteY1330" fmla="*/ 4509720 h 5561214"/>
                  <a:gd name="connsiteX1331" fmla="*/ 644945 w 9950334"/>
                  <a:gd name="connsiteY1331" fmla="*/ 4769576 h 5561214"/>
                  <a:gd name="connsiteX1332" fmla="*/ 627405 w 9950334"/>
                  <a:gd name="connsiteY1332" fmla="*/ 4771405 h 5561214"/>
                  <a:gd name="connsiteX1333" fmla="*/ 598393 w 9950334"/>
                  <a:gd name="connsiteY1333" fmla="*/ 4824274 h 5561214"/>
                  <a:gd name="connsiteX1334" fmla="*/ 335545 w 9950334"/>
                  <a:gd name="connsiteY1334" fmla="*/ 4913885 h 5561214"/>
                  <a:gd name="connsiteX1335" fmla="*/ 297473 w 9950334"/>
                  <a:gd name="connsiteY1335" fmla="*/ 4895930 h 5561214"/>
                  <a:gd name="connsiteX1336" fmla="*/ 285419 w 9950334"/>
                  <a:gd name="connsiteY1336" fmla="*/ 4903162 h 5561214"/>
                  <a:gd name="connsiteX1337" fmla="*/ 78765 w 9950334"/>
                  <a:gd name="connsiteY1337" fmla="*/ 4722692 h 5561214"/>
                  <a:gd name="connsiteX1338" fmla="*/ 85664 w 9950334"/>
                  <a:gd name="connsiteY1338" fmla="*/ 4683124 h 5561214"/>
                  <a:gd name="connsiteX1339" fmla="*/ 54159 w 9950334"/>
                  <a:gd name="connsiteY1339" fmla="*/ 4653863 h 556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</a:cxnLst>
                <a:rect l="l" t="t" r="r" b="b"/>
                <a:pathLst>
                  <a:path w="9950334" h="5561214">
                    <a:moveTo>
                      <a:pt x="57318" y="4737988"/>
                    </a:moveTo>
                    <a:cubicBezTo>
                      <a:pt x="63261" y="4736088"/>
                      <a:pt x="68730" y="4732942"/>
                      <a:pt x="73362" y="4728761"/>
                    </a:cubicBezTo>
                    <a:lnTo>
                      <a:pt x="280265" y="4909729"/>
                    </a:lnTo>
                    <a:cubicBezTo>
                      <a:pt x="275726" y="4917221"/>
                      <a:pt x="274607" y="4926296"/>
                      <a:pt x="277190" y="4934667"/>
                    </a:cubicBezTo>
                    <a:cubicBezTo>
                      <a:pt x="282309" y="4951056"/>
                      <a:pt x="299746" y="4960192"/>
                      <a:pt x="316135" y="4955072"/>
                    </a:cubicBezTo>
                    <a:cubicBezTo>
                      <a:pt x="316177" y="4955059"/>
                      <a:pt x="316218" y="4955047"/>
                      <a:pt x="316260" y="4955033"/>
                    </a:cubicBezTo>
                    <a:cubicBezTo>
                      <a:pt x="330482" y="4950548"/>
                      <a:pt x="339517" y="4936596"/>
                      <a:pt x="337789" y="4921782"/>
                    </a:cubicBezTo>
                    <a:lnTo>
                      <a:pt x="601303" y="4832005"/>
                    </a:lnTo>
                    <a:cubicBezTo>
                      <a:pt x="610629" y="4851650"/>
                      <a:pt x="633017" y="4861407"/>
                      <a:pt x="653756" y="4854865"/>
                    </a:cubicBezTo>
                    <a:cubicBezTo>
                      <a:pt x="659963" y="4852840"/>
                      <a:pt x="665641" y="4849461"/>
                      <a:pt x="670382" y="4844973"/>
                    </a:cubicBezTo>
                    <a:lnTo>
                      <a:pt x="877618" y="5026357"/>
                    </a:lnTo>
                    <a:cubicBezTo>
                      <a:pt x="871847" y="5035185"/>
                      <a:pt x="870323" y="5046130"/>
                      <a:pt x="873462" y="5056200"/>
                    </a:cubicBezTo>
                    <a:cubicBezTo>
                      <a:pt x="879166" y="5074955"/>
                      <a:pt x="898995" y="5085535"/>
                      <a:pt x="917750" y="5079830"/>
                    </a:cubicBezTo>
                    <a:cubicBezTo>
                      <a:pt x="917951" y="5079769"/>
                      <a:pt x="918151" y="5079706"/>
                      <a:pt x="918350" y="5079641"/>
                    </a:cubicBezTo>
                    <a:cubicBezTo>
                      <a:pt x="935860" y="5074055"/>
                      <a:pt x="946187" y="5056002"/>
                      <a:pt x="942125" y="5038077"/>
                    </a:cubicBezTo>
                    <a:lnTo>
                      <a:pt x="1199819" y="4950378"/>
                    </a:lnTo>
                    <a:cubicBezTo>
                      <a:pt x="1210049" y="4972203"/>
                      <a:pt x="1236033" y="4981602"/>
                      <a:pt x="1257857" y="4971373"/>
                    </a:cubicBezTo>
                    <a:cubicBezTo>
                      <a:pt x="1279682" y="4961144"/>
                      <a:pt x="1289082" y="4935159"/>
                      <a:pt x="1278852" y="4913335"/>
                    </a:cubicBezTo>
                    <a:cubicBezTo>
                      <a:pt x="1273772" y="4902496"/>
                      <a:pt x="1264463" y="4894220"/>
                      <a:pt x="1253104" y="4890443"/>
                    </a:cubicBezTo>
                    <a:lnTo>
                      <a:pt x="1305225" y="4622940"/>
                    </a:lnTo>
                    <a:cubicBezTo>
                      <a:pt x="1310180" y="4623470"/>
                      <a:pt x="1315191" y="4622960"/>
                      <a:pt x="1319938" y="4621444"/>
                    </a:cubicBezTo>
                    <a:cubicBezTo>
                      <a:pt x="1338235" y="4615722"/>
                      <a:pt x="1349082" y="4596921"/>
                      <a:pt x="1344876" y="4578217"/>
                    </a:cubicBezTo>
                    <a:lnTo>
                      <a:pt x="1609554" y="4488108"/>
                    </a:lnTo>
                    <a:cubicBezTo>
                      <a:pt x="1616973" y="4505472"/>
                      <a:pt x="1636345" y="4514386"/>
                      <a:pt x="1654359" y="4508723"/>
                    </a:cubicBezTo>
                    <a:cubicBezTo>
                      <a:pt x="1659629" y="4507036"/>
                      <a:pt x="1664456" y="4504197"/>
                      <a:pt x="1668491" y="4500410"/>
                    </a:cubicBezTo>
                    <a:lnTo>
                      <a:pt x="1880382" y="4685784"/>
                    </a:lnTo>
                    <a:cubicBezTo>
                      <a:pt x="1871035" y="4700187"/>
                      <a:pt x="1875133" y="4719440"/>
                      <a:pt x="1889535" y="4728788"/>
                    </a:cubicBezTo>
                    <a:cubicBezTo>
                      <a:pt x="1903938" y="4738136"/>
                      <a:pt x="1923192" y="4734038"/>
                      <a:pt x="1932539" y="4719635"/>
                    </a:cubicBezTo>
                    <a:cubicBezTo>
                      <a:pt x="1936627" y="4713336"/>
                      <a:pt x="1938298" y="4705771"/>
                      <a:pt x="1937241" y="4698336"/>
                    </a:cubicBezTo>
                    <a:lnTo>
                      <a:pt x="2208735" y="4606314"/>
                    </a:lnTo>
                    <a:cubicBezTo>
                      <a:pt x="2216380" y="4623256"/>
                      <a:pt x="2235471" y="4631820"/>
                      <a:pt x="2253208" y="4626265"/>
                    </a:cubicBezTo>
                    <a:cubicBezTo>
                      <a:pt x="2258466" y="4624606"/>
                      <a:pt x="2263272" y="4621763"/>
                      <a:pt x="2267257" y="4617952"/>
                    </a:cubicBezTo>
                    <a:lnTo>
                      <a:pt x="2481559" y="4806817"/>
                    </a:lnTo>
                    <a:cubicBezTo>
                      <a:pt x="2471644" y="4820723"/>
                      <a:pt x="2474880" y="4840034"/>
                      <a:pt x="2488787" y="4849948"/>
                    </a:cubicBezTo>
                    <a:cubicBezTo>
                      <a:pt x="2491091" y="4851591"/>
                      <a:pt x="2493609" y="4852910"/>
                      <a:pt x="2496272" y="4853868"/>
                    </a:cubicBezTo>
                    <a:lnTo>
                      <a:pt x="2440743" y="5129684"/>
                    </a:lnTo>
                    <a:cubicBezTo>
                      <a:pt x="2420456" y="5128248"/>
                      <a:pt x="2402846" y="5143531"/>
                      <a:pt x="2401411" y="5163818"/>
                    </a:cubicBezTo>
                    <a:cubicBezTo>
                      <a:pt x="2399975" y="5184105"/>
                      <a:pt x="2415258" y="5201715"/>
                      <a:pt x="2435545" y="5203151"/>
                    </a:cubicBezTo>
                    <a:cubicBezTo>
                      <a:pt x="2440107" y="5203473"/>
                      <a:pt x="2444688" y="5202944"/>
                      <a:pt x="2449056" y="5201589"/>
                    </a:cubicBezTo>
                    <a:cubicBezTo>
                      <a:pt x="2453775" y="5200065"/>
                      <a:pt x="2458151" y="5197637"/>
                      <a:pt x="2461941" y="5194440"/>
                    </a:cubicBezTo>
                    <a:lnTo>
                      <a:pt x="2667182" y="5375325"/>
                    </a:lnTo>
                    <a:cubicBezTo>
                      <a:pt x="2653612" y="5395244"/>
                      <a:pt x="2658759" y="5422393"/>
                      <a:pt x="2678678" y="5435963"/>
                    </a:cubicBezTo>
                    <a:cubicBezTo>
                      <a:pt x="2698598" y="5449534"/>
                      <a:pt x="2725746" y="5444387"/>
                      <a:pt x="2739317" y="5424468"/>
                    </a:cubicBezTo>
                    <a:cubicBezTo>
                      <a:pt x="2746129" y="5414468"/>
                      <a:pt x="2748484" y="5402090"/>
                      <a:pt x="2745820" y="5390288"/>
                    </a:cubicBezTo>
                    <a:lnTo>
                      <a:pt x="3002517" y="5303918"/>
                    </a:lnTo>
                    <a:cubicBezTo>
                      <a:pt x="3009812" y="5322706"/>
                      <a:pt x="3030956" y="5332023"/>
                      <a:pt x="3049744" y="5324728"/>
                    </a:cubicBezTo>
                    <a:cubicBezTo>
                      <a:pt x="3054189" y="5323003"/>
                      <a:pt x="3058252" y="5320423"/>
                      <a:pt x="3061704" y="5317135"/>
                    </a:cubicBezTo>
                    <a:lnTo>
                      <a:pt x="3264867" y="5495776"/>
                    </a:lnTo>
                    <a:cubicBezTo>
                      <a:pt x="3251583" y="5515888"/>
                      <a:pt x="3257119" y="5542960"/>
                      <a:pt x="3277231" y="5556244"/>
                    </a:cubicBezTo>
                    <a:cubicBezTo>
                      <a:pt x="3297342" y="5569527"/>
                      <a:pt x="3324415" y="5563992"/>
                      <a:pt x="3337699" y="5543880"/>
                    </a:cubicBezTo>
                    <a:cubicBezTo>
                      <a:pt x="3344032" y="5534291"/>
                      <a:pt x="3346328" y="5522592"/>
                      <a:pt x="3344087" y="5511321"/>
                    </a:cubicBezTo>
                    <a:lnTo>
                      <a:pt x="3608183" y="5422458"/>
                    </a:lnTo>
                    <a:cubicBezTo>
                      <a:pt x="3615506" y="5437988"/>
                      <a:pt x="3634032" y="5444641"/>
                      <a:pt x="3649563" y="5437318"/>
                    </a:cubicBezTo>
                    <a:cubicBezTo>
                      <a:pt x="3663719" y="5430642"/>
                      <a:pt x="3670706" y="5414484"/>
                      <a:pt x="3665873" y="5399598"/>
                    </a:cubicBezTo>
                    <a:cubicBezTo>
                      <a:pt x="3662629" y="5389834"/>
                      <a:pt x="3654800" y="5382284"/>
                      <a:pt x="3644925" y="5379398"/>
                    </a:cubicBezTo>
                    <a:lnTo>
                      <a:pt x="3699623" y="5108237"/>
                    </a:lnTo>
                    <a:cubicBezTo>
                      <a:pt x="3706282" y="5109424"/>
                      <a:pt x="3713130" y="5108967"/>
                      <a:pt x="3719573" y="5106907"/>
                    </a:cubicBezTo>
                    <a:cubicBezTo>
                      <a:pt x="3742179" y="5099764"/>
                      <a:pt x="3754974" y="5075907"/>
                      <a:pt x="3748418" y="5053124"/>
                    </a:cubicBezTo>
                    <a:lnTo>
                      <a:pt x="4005115" y="4966671"/>
                    </a:lnTo>
                    <a:cubicBezTo>
                      <a:pt x="4012357" y="4984358"/>
                      <a:pt x="4031927" y="4993565"/>
                      <a:pt x="4050170" y="4987868"/>
                    </a:cubicBezTo>
                    <a:cubicBezTo>
                      <a:pt x="4055136" y="4986325"/>
                      <a:pt x="4059704" y="4983715"/>
                      <a:pt x="4063554" y="4980221"/>
                    </a:cubicBezTo>
                    <a:lnTo>
                      <a:pt x="4270042" y="5162353"/>
                    </a:lnTo>
                    <a:cubicBezTo>
                      <a:pt x="4264281" y="5171437"/>
                      <a:pt x="4262821" y="5182600"/>
                      <a:pt x="4266052" y="5192860"/>
                    </a:cubicBezTo>
                    <a:cubicBezTo>
                      <a:pt x="4272128" y="5212270"/>
                      <a:pt x="4292788" y="5223078"/>
                      <a:pt x="4312198" y="5217001"/>
                    </a:cubicBezTo>
                    <a:cubicBezTo>
                      <a:pt x="4329274" y="5211655"/>
                      <a:pt x="4340036" y="5194808"/>
                      <a:pt x="4337708" y="5177066"/>
                    </a:cubicBezTo>
                    <a:lnTo>
                      <a:pt x="4608370" y="5086042"/>
                    </a:lnTo>
                    <a:cubicBezTo>
                      <a:pt x="4615716" y="5098530"/>
                      <a:pt x="4630715" y="5104288"/>
                      <a:pt x="4644530" y="5099924"/>
                    </a:cubicBezTo>
                    <a:cubicBezTo>
                      <a:pt x="4648120" y="5098758"/>
                      <a:pt x="4651471" y="5096955"/>
                      <a:pt x="4654423" y="5094604"/>
                    </a:cubicBezTo>
                    <a:lnTo>
                      <a:pt x="4869390" y="5284134"/>
                    </a:lnTo>
                    <a:cubicBezTo>
                      <a:pt x="4858309" y="5301134"/>
                      <a:pt x="4863108" y="5323897"/>
                      <a:pt x="4880108" y="5334978"/>
                    </a:cubicBezTo>
                    <a:cubicBezTo>
                      <a:pt x="4889390" y="5341028"/>
                      <a:pt x="4900907" y="5342566"/>
                      <a:pt x="4911452" y="5339164"/>
                    </a:cubicBezTo>
                    <a:cubicBezTo>
                      <a:pt x="4929045" y="5333566"/>
                      <a:pt x="4939729" y="5315758"/>
                      <a:pt x="4936390" y="5297600"/>
                    </a:cubicBezTo>
                    <a:lnTo>
                      <a:pt x="5205058" y="5207158"/>
                    </a:lnTo>
                    <a:cubicBezTo>
                      <a:pt x="5212482" y="5223603"/>
                      <a:pt x="5231831" y="5230916"/>
                      <a:pt x="5248275" y="5223491"/>
                    </a:cubicBezTo>
                    <a:cubicBezTo>
                      <a:pt x="5264720" y="5216067"/>
                      <a:pt x="5272032" y="5196718"/>
                      <a:pt x="5264608" y="5180274"/>
                    </a:cubicBezTo>
                    <a:cubicBezTo>
                      <a:pt x="5260802" y="5171844"/>
                      <a:pt x="5253602" y="5165422"/>
                      <a:pt x="5244792" y="5162602"/>
                    </a:cubicBezTo>
                    <a:lnTo>
                      <a:pt x="5300072" y="4888282"/>
                    </a:lnTo>
                    <a:cubicBezTo>
                      <a:pt x="5304708" y="4888592"/>
                      <a:pt x="5309360" y="4888028"/>
                      <a:pt x="5313788" y="4886619"/>
                    </a:cubicBezTo>
                    <a:cubicBezTo>
                      <a:pt x="5334467" y="4880956"/>
                      <a:pt x="5346640" y="4859603"/>
                      <a:pt x="5340977" y="4838924"/>
                    </a:cubicBezTo>
                    <a:cubicBezTo>
                      <a:pt x="5335314" y="4818245"/>
                      <a:pt x="5313961" y="4806072"/>
                      <a:pt x="5293282" y="4811735"/>
                    </a:cubicBezTo>
                    <a:cubicBezTo>
                      <a:pt x="5292320" y="4811999"/>
                      <a:pt x="5291368" y="4812299"/>
                      <a:pt x="5290429" y="4812636"/>
                    </a:cubicBezTo>
                    <a:cubicBezTo>
                      <a:pt x="5286110" y="4814027"/>
                      <a:pt x="5282082" y="4816196"/>
                      <a:pt x="5278542" y="4819037"/>
                    </a:cubicBezTo>
                    <a:lnTo>
                      <a:pt x="5064323" y="4630172"/>
                    </a:lnTo>
                    <a:cubicBezTo>
                      <a:pt x="5074135" y="4616081"/>
                      <a:pt x="5070666" y="4596704"/>
                      <a:pt x="5056576" y="4586892"/>
                    </a:cubicBezTo>
                    <a:cubicBezTo>
                      <a:pt x="5042485" y="4577080"/>
                      <a:pt x="5023108" y="4580549"/>
                      <a:pt x="5013296" y="4594640"/>
                    </a:cubicBezTo>
                    <a:cubicBezTo>
                      <a:pt x="5008182" y="4601984"/>
                      <a:pt x="5006481" y="4611176"/>
                      <a:pt x="5008628" y="4619864"/>
                    </a:cubicBezTo>
                    <a:lnTo>
                      <a:pt x="4745946" y="4708312"/>
                    </a:lnTo>
                    <a:cubicBezTo>
                      <a:pt x="4737358" y="4685987"/>
                      <a:pt x="4712299" y="4674852"/>
                      <a:pt x="4689974" y="4683440"/>
                    </a:cubicBezTo>
                    <a:cubicBezTo>
                      <a:pt x="4684270" y="4685634"/>
                      <a:pt x="4679095" y="4689011"/>
                      <a:pt x="4674789" y="4693349"/>
                    </a:cubicBezTo>
                    <a:lnTo>
                      <a:pt x="4467802" y="4510468"/>
                    </a:lnTo>
                    <a:cubicBezTo>
                      <a:pt x="4476407" y="4495610"/>
                      <a:pt x="4471337" y="4476589"/>
                      <a:pt x="4456478" y="4467984"/>
                    </a:cubicBezTo>
                    <a:cubicBezTo>
                      <a:pt x="4441619" y="4459380"/>
                      <a:pt x="4422598" y="4464449"/>
                      <a:pt x="4413994" y="4479308"/>
                    </a:cubicBezTo>
                    <a:cubicBezTo>
                      <a:pt x="4410620" y="4485134"/>
                      <a:pt x="4409229" y="4491897"/>
                      <a:pt x="4410028" y="4498581"/>
                    </a:cubicBezTo>
                    <a:lnTo>
                      <a:pt x="4132466" y="4592017"/>
                    </a:lnTo>
                    <a:cubicBezTo>
                      <a:pt x="4124327" y="4577212"/>
                      <a:pt x="4105727" y="4571808"/>
                      <a:pt x="4090922" y="4579947"/>
                    </a:cubicBezTo>
                    <a:cubicBezTo>
                      <a:pt x="4089822" y="4580552"/>
                      <a:pt x="4088761" y="4581223"/>
                      <a:pt x="4087744" y="4581959"/>
                    </a:cubicBezTo>
                    <a:lnTo>
                      <a:pt x="3869369" y="4389518"/>
                    </a:lnTo>
                    <a:cubicBezTo>
                      <a:pt x="3879216" y="4375621"/>
                      <a:pt x="3875934" y="4356372"/>
                      <a:pt x="3862037" y="4346524"/>
                    </a:cubicBezTo>
                    <a:cubicBezTo>
                      <a:pt x="3859522" y="4344742"/>
                      <a:pt x="3856753" y="4343347"/>
                      <a:pt x="3853824" y="4342385"/>
                    </a:cubicBezTo>
                    <a:lnTo>
                      <a:pt x="3910350" y="4062163"/>
                    </a:lnTo>
                    <a:cubicBezTo>
                      <a:pt x="3914366" y="4062428"/>
                      <a:pt x="3918396" y="4061949"/>
                      <a:pt x="3922237" y="4060750"/>
                    </a:cubicBezTo>
                    <a:cubicBezTo>
                      <a:pt x="3939232" y="4055289"/>
                      <a:pt x="3948883" y="4037382"/>
                      <a:pt x="3944100" y="4020184"/>
                    </a:cubicBezTo>
                    <a:lnTo>
                      <a:pt x="4219417" y="3927497"/>
                    </a:lnTo>
                    <a:cubicBezTo>
                      <a:pt x="4227461" y="3942719"/>
                      <a:pt x="4246322" y="3948537"/>
                      <a:pt x="4261543" y="3940493"/>
                    </a:cubicBezTo>
                    <a:cubicBezTo>
                      <a:pt x="4276765" y="3932450"/>
                      <a:pt x="4282583" y="3913589"/>
                      <a:pt x="4274539" y="3898368"/>
                    </a:cubicBezTo>
                    <a:cubicBezTo>
                      <a:pt x="4270830" y="3891350"/>
                      <a:pt x="4264584" y="3886011"/>
                      <a:pt x="4257074" y="3883440"/>
                    </a:cubicBezTo>
                    <a:lnTo>
                      <a:pt x="4311689" y="3612694"/>
                    </a:lnTo>
                    <a:cubicBezTo>
                      <a:pt x="4317022" y="3613070"/>
                      <a:pt x="4322378" y="3612450"/>
                      <a:pt x="4327483" y="3610865"/>
                    </a:cubicBezTo>
                    <a:cubicBezTo>
                      <a:pt x="4349330" y="3603880"/>
                      <a:pt x="4362067" y="3581201"/>
                      <a:pt x="4356661" y="3558911"/>
                    </a:cubicBezTo>
                    <a:lnTo>
                      <a:pt x="4616849" y="3471377"/>
                    </a:lnTo>
                    <a:cubicBezTo>
                      <a:pt x="4624762" y="3491156"/>
                      <a:pt x="4647210" y="3500774"/>
                      <a:pt x="4666988" y="3492862"/>
                    </a:cubicBezTo>
                    <a:cubicBezTo>
                      <a:pt x="4671301" y="3491136"/>
                      <a:pt x="4675268" y="3488645"/>
                      <a:pt x="4678696" y="3485509"/>
                    </a:cubicBezTo>
                    <a:lnTo>
                      <a:pt x="4888426" y="3670384"/>
                    </a:lnTo>
                    <a:cubicBezTo>
                      <a:pt x="4878812" y="3684555"/>
                      <a:pt x="4882506" y="3703836"/>
                      <a:pt x="4896677" y="3713450"/>
                    </a:cubicBezTo>
                    <a:cubicBezTo>
                      <a:pt x="4899396" y="3715295"/>
                      <a:pt x="4902391" y="3716696"/>
                      <a:pt x="4905550" y="3717600"/>
                    </a:cubicBezTo>
                    <a:lnTo>
                      <a:pt x="4848109" y="4002312"/>
                    </a:lnTo>
                    <a:cubicBezTo>
                      <a:pt x="4844873" y="4002262"/>
                      <a:pt x="4841649" y="4002711"/>
                      <a:pt x="4838549" y="4003641"/>
                    </a:cubicBezTo>
                    <a:cubicBezTo>
                      <a:pt x="4822039" y="4008520"/>
                      <a:pt x="4812610" y="4025860"/>
                      <a:pt x="4817489" y="4042370"/>
                    </a:cubicBezTo>
                    <a:cubicBezTo>
                      <a:pt x="4822368" y="4058881"/>
                      <a:pt x="4839708" y="4068310"/>
                      <a:pt x="4856218" y="4063431"/>
                    </a:cubicBezTo>
                    <a:cubicBezTo>
                      <a:pt x="4856593" y="4063320"/>
                      <a:pt x="4856966" y="4063202"/>
                      <a:pt x="4857336" y="4063077"/>
                    </a:cubicBezTo>
                    <a:cubicBezTo>
                      <a:pt x="4860621" y="4062005"/>
                      <a:pt x="4863710" y="4060404"/>
                      <a:pt x="4866480" y="4058339"/>
                    </a:cubicBezTo>
                    <a:lnTo>
                      <a:pt x="5073883" y="4241219"/>
                    </a:lnTo>
                    <a:cubicBezTo>
                      <a:pt x="5060348" y="4261218"/>
                      <a:pt x="5065588" y="4288403"/>
                      <a:pt x="5085587" y="4301938"/>
                    </a:cubicBezTo>
                    <a:cubicBezTo>
                      <a:pt x="5105586" y="4315473"/>
                      <a:pt x="5132771" y="4310233"/>
                      <a:pt x="5146306" y="4290234"/>
                    </a:cubicBezTo>
                    <a:cubicBezTo>
                      <a:pt x="5152728" y="4280745"/>
                      <a:pt x="5155168" y="4269115"/>
                      <a:pt x="5153103" y="4257845"/>
                    </a:cubicBezTo>
                    <a:lnTo>
                      <a:pt x="5416284" y="4169231"/>
                    </a:lnTo>
                    <a:cubicBezTo>
                      <a:pt x="5423844" y="4184648"/>
                      <a:pt x="5442470" y="4191017"/>
                      <a:pt x="5457886" y="4183458"/>
                    </a:cubicBezTo>
                    <a:cubicBezTo>
                      <a:pt x="5473303" y="4175899"/>
                      <a:pt x="5479672" y="4157273"/>
                      <a:pt x="5472113" y="4141856"/>
                    </a:cubicBezTo>
                    <a:cubicBezTo>
                      <a:pt x="5468579" y="4134650"/>
                      <a:pt x="5462395" y="4129089"/>
                      <a:pt x="5454855" y="4126337"/>
                    </a:cubicBezTo>
                    <a:lnTo>
                      <a:pt x="5510966" y="3848193"/>
                    </a:lnTo>
                    <a:cubicBezTo>
                      <a:pt x="5516069" y="3848626"/>
                      <a:pt x="5521208" y="3848061"/>
                      <a:pt x="5526095" y="3846531"/>
                    </a:cubicBezTo>
                    <a:cubicBezTo>
                      <a:pt x="5546276" y="3839293"/>
                      <a:pt x="5556769" y="3817065"/>
                      <a:pt x="5549531" y="3796884"/>
                    </a:cubicBezTo>
                    <a:cubicBezTo>
                      <a:pt x="5542684" y="3777794"/>
                      <a:pt x="5522297" y="3767191"/>
                      <a:pt x="5502736" y="3772547"/>
                    </a:cubicBezTo>
                    <a:cubicBezTo>
                      <a:pt x="5497415" y="3774227"/>
                      <a:pt x="5492531" y="3777066"/>
                      <a:pt x="5488439" y="3780860"/>
                    </a:cubicBezTo>
                    <a:lnTo>
                      <a:pt x="5285192" y="3601721"/>
                    </a:lnTo>
                    <a:cubicBezTo>
                      <a:pt x="5300171" y="3582779"/>
                      <a:pt x="5296958" y="3555281"/>
                      <a:pt x="5278016" y="3540303"/>
                    </a:cubicBezTo>
                    <a:cubicBezTo>
                      <a:pt x="5273536" y="3536760"/>
                      <a:pt x="5268406" y="3534130"/>
                      <a:pt x="5262914" y="3532559"/>
                    </a:cubicBezTo>
                    <a:lnTo>
                      <a:pt x="5317529" y="3261814"/>
                    </a:lnTo>
                    <a:cubicBezTo>
                      <a:pt x="5321705" y="3262239"/>
                      <a:pt x="5325924" y="3261786"/>
                      <a:pt x="5329915" y="3260484"/>
                    </a:cubicBezTo>
                    <a:cubicBezTo>
                      <a:pt x="5345257" y="3255684"/>
                      <a:pt x="5354362" y="3239930"/>
                      <a:pt x="5350863" y="3224241"/>
                    </a:cubicBezTo>
                    <a:lnTo>
                      <a:pt x="5619530" y="3133798"/>
                    </a:lnTo>
                    <a:cubicBezTo>
                      <a:pt x="5628543" y="3153099"/>
                      <a:pt x="5651497" y="3161439"/>
                      <a:pt x="5670799" y="3152426"/>
                    </a:cubicBezTo>
                    <a:cubicBezTo>
                      <a:pt x="5673890" y="3150982"/>
                      <a:pt x="5676776" y="3149134"/>
                      <a:pt x="5679382" y="3146931"/>
                    </a:cubicBezTo>
                    <a:lnTo>
                      <a:pt x="5885870" y="3328981"/>
                    </a:lnTo>
                    <a:cubicBezTo>
                      <a:pt x="5880050" y="3338446"/>
                      <a:pt x="5878624" y="3349971"/>
                      <a:pt x="5881963" y="3360569"/>
                    </a:cubicBezTo>
                    <a:cubicBezTo>
                      <a:pt x="5889342" y="3380651"/>
                      <a:pt x="5911602" y="3390949"/>
                      <a:pt x="5931683" y="3383571"/>
                    </a:cubicBezTo>
                    <a:cubicBezTo>
                      <a:pt x="5948558" y="3377372"/>
                      <a:pt x="5958950" y="3360376"/>
                      <a:pt x="5956778" y="3342531"/>
                    </a:cubicBezTo>
                    <a:lnTo>
                      <a:pt x="6212228" y="3256577"/>
                    </a:lnTo>
                    <a:cubicBezTo>
                      <a:pt x="6222112" y="3278459"/>
                      <a:pt x="6247863" y="3288185"/>
                      <a:pt x="6269746" y="3278301"/>
                    </a:cubicBezTo>
                    <a:cubicBezTo>
                      <a:pt x="6273846" y="3276449"/>
                      <a:pt x="6277634" y="3273972"/>
                      <a:pt x="6280974" y="3270958"/>
                    </a:cubicBezTo>
                    <a:lnTo>
                      <a:pt x="6490288" y="3455500"/>
                    </a:lnTo>
                    <a:cubicBezTo>
                      <a:pt x="6481345" y="3470050"/>
                      <a:pt x="6485890" y="3489095"/>
                      <a:pt x="6500440" y="3498038"/>
                    </a:cubicBezTo>
                    <a:cubicBezTo>
                      <a:pt x="6502123" y="3499073"/>
                      <a:pt x="6503901" y="3499943"/>
                      <a:pt x="6505750" y="3500638"/>
                    </a:cubicBezTo>
                    <a:lnTo>
                      <a:pt x="6450387" y="3774958"/>
                    </a:lnTo>
                    <a:cubicBezTo>
                      <a:pt x="6426272" y="3773677"/>
                      <a:pt x="6405685" y="3792188"/>
                      <a:pt x="6404404" y="3816302"/>
                    </a:cubicBezTo>
                    <a:cubicBezTo>
                      <a:pt x="6403123" y="3840417"/>
                      <a:pt x="6421634" y="3861004"/>
                      <a:pt x="6445748" y="3862285"/>
                    </a:cubicBezTo>
                    <a:cubicBezTo>
                      <a:pt x="6450972" y="3862563"/>
                      <a:pt x="6456204" y="3861900"/>
                      <a:pt x="6461194" y="3860330"/>
                    </a:cubicBezTo>
                    <a:cubicBezTo>
                      <a:pt x="6467151" y="3858464"/>
                      <a:pt x="6472628" y="3855314"/>
                      <a:pt x="6477237" y="3851103"/>
                    </a:cubicBezTo>
                    <a:lnTo>
                      <a:pt x="6679070" y="4029328"/>
                    </a:lnTo>
                    <a:cubicBezTo>
                      <a:pt x="6673008" y="4038852"/>
                      <a:pt x="6671486" y="4050576"/>
                      <a:pt x="6674914" y="4061332"/>
                    </a:cubicBezTo>
                    <a:cubicBezTo>
                      <a:pt x="6681587" y="4081610"/>
                      <a:pt x="6703435" y="4092639"/>
                      <a:pt x="6723714" y="4085967"/>
                    </a:cubicBezTo>
                    <a:cubicBezTo>
                      <a:pt x="6741902" y="4079982"/>
                      <a:pt x="6752967" y="4061583"/>
                      <a:pt x="6749729" y="4042711"/>
                    </a:cubicBezTo>
                    <a:lnTo>
                      <a:pt x="7009834" y="3955178"/>
                    </a:lnTo>
                    <a:cubicBezTo>
                      <a:pt x="7018953" y="3974480"/>
                      <a:pt x="7041993" y="3982735"/>
                      <a:pt x="7061296" y="3973616"/>
                    </a:cubicBezTo>
                    <a:cubicBezTo>
                      <a:pt x="7064545" y="3972081"/>
                      <a:pt x="7067565" y="3970100"/>
                      <a:pt x="7070267" y="3967730"/>
                    </a:cubicBezTo>
                    <a:lnTo>
                      <a:pt x="7284819" y="4156845"/>
                    </a:lnTo>
                    <a:cubicBezTo>
                      <a:pt x="7276756" y="4171587"/>
                      <a:pt x="7282171" y="4190075"/>
                      <a:pt x="7296913" y="4198137"/>
                    </a:cubicBezTo>
                    <a:cubicBezTo>
                      <a:pt x="7311656" y="4206200"/>
                      <a:pt x="7330143" y="4200785"/>
                      <a:pt x="7338206" y="4186043"/>
                    </a:cubicBezTo>
                    <a:cubicBezTo>
                      <a:pt x="7341564" y="4179901"/>
                      <a:pt x="7342703" y="4172789"/>
                      <a:pt x="7341428" y="4165906"/>
                    </a:cubicBezTo>
                    <a:lnTo>
                      <a:pt x="7607436" y="4076295"/>
                    </a:lnTo>
                    <a:cubicBezTo>
                      <a:pt x="7617646" y="4095147"/>
                      <a:pt x="7641206" y="4102154"/>
                      <a:pt x="7660058" y="4091943"/>
                    </a:cubicBezTo>
                    <a:cubicBezTo>
                      <a:pt x="7678911" y="4081733"/>
                      <a:pt x="7685918" y="4058173"/>
                      <a:pt x="7675707" y="4039321"/>
                    </a:cubicBezTo>
                    <a:cubicBezTo>
                      <a:pt x="7671197" y="4030992"/>
                      <a:pt x="7663797" y="4024600"/>
                      <a:pt x="7654901" y="4021348"/>
                    </a:cubicBezTo>
                    <a:lnTo>
                      <a:pt x="7710929" y="3743204"/>
                    </a:lnTo>
                    <a:cubicBezTo>
                      <a:pt x="7715264" y="3743736"/>
                      <a:pt x="7719662" y="3743310"/>
                      <a:pt x="7723814" y="3741956"/>
                    </a:cubicBezTo>
                    <a:cubicBezTo>
                      <a:pt x="7738446" y="3737332"/>
                      <a:pt x="7747495" y="3722699"/>
                      <a:pt x="7745094" y="3707542"/>
                    </a:cubicBezTo>
                    <a:lnTo>
                      <a:pt x="8006197" y="3619677"/>
                    </a:lnTo>
                    <a:cubicBezTo>
                      <a:pt x="8015500" y="3639394"/>
                      <a:pt x="8037948" y="3649197"/>
                      <a:pt x="8058734" y="3642620"/>
                    </a:cubicBezTo>
                    <a:cubicBezTo>
                      <a:pt x="8064915" y="3640786"/>
                      <a:pt x="8070599" y="3637574"/>
                      <a:pt x="8075359" y="3633226"/>
                    </a:cubicBezTo>
                    <a:lnTo>
                      <a:pt x="8284175" y="3817353"/>
                    </a:lnTo>
                    <a:cubicBezTo>
                      <a:pt x="8274410" y="3831477"/>
                      <a:pt x="8277944" y="3850842"/>
                      <a:pt x="8292067" y="3860607"/>
                    </a:cubicBezTo>
                    <a:cubicBezTo>
                      <a:pt x="8306191" y="3870371"/>
                      <a:pt x="8325556" y="3866838"/>
                      <a:pt x="8335320" y="3852715"/>
                    </a:cubicBezTo>
                    <a:cubicBezTo>
                      <a:pt x="8339869" y="3846135"/>
                      <a:pt x="8341707" y="3838055"/>
                      <a:pt x="8340452" y="3830155"/>
                    </a:cubicBezTo>
                    <a:lnTo>
                      <a:pt x="8609784" y="3739463"/>
                    </a:lnTo>
                    <a:cubicBezTo>
                      <a:pt x="8619721" y="3758409"/>
                      <a:pt x="8643136" y="3765712"/>
                      <a:pt x="8662082" y="3755776"/>
                    </a:cubicBezTo>
                    <a:cubicBezTo>
                      <a:pt x="8681028" y="3745839"/>
                      <a:pt x="8688331" y="3722424"/>
                      <a:pt x="8678395" y="3703478"/>
                    </a:cubicBezTo>
                    <a:cubicBezTo>
                      <a:pt x="8673927" y="3694959"/>
                      <a:pt x="8666449" y="3688407"/>
                      <a:pt x="8657416" y="3685098"/>
                    </a:cubicBezTo>
                    <a:lnTo>
                      <a:pt x="8710618" y="3421085"/>
                    </a:lnTo>
                    <a:cubicBezTo>
                      <a:pt x="8717151" y="3422142"/>
                      <a:pt x="8723840" y="3421659"/>
                      <a:pt x="8730152" y="3419672"/>
                    </a:cubicBezTo>
                    <a:cubicBezTo>
                      <a:pt x="8753276" y="3412552"/>
                      <a:pt x="8766249" y="3388036"/>
                      <a:pt x="8759129" y="3364913"/>
                    </a:cubicBezTo>
                    <a:cubicBezTo>
                      <a:pt x="8752009" y="3341789"/>
                      <a:pt x="8727493" y="3328816"/>
                      <a:pt x="8704369" y="3335936"/>
                    </a:cubicBezTo>
                    <a:cubicBezTo>
                      <a:pt x="8697684" y="3337994"/>
                      <a:pt x="8691589" y="3341624"/>
                      <a:pt x="8686594" y="3346520"/>
                    </a:cubicBezTo>
                    <a:lnTo>
                      <a:pt x="8476199" y="3160980"/>
                    </a:lnTo>
                    <a:cubicBezTo>
                      <a:pt x="8481310" y="3153252"/>
                      <a:pt x="8482654" y="3143628"/>
                      <a:pt x="8479856" y="3134795"/>
                    </a:cubicBezTo>
                    <a:cubicBezTo>
                      <a:pt x="8474701" y="3118417"/>
                      <a:pt x="8457245" y="3109319"/>
                      <a:pt x="8440867" y="3114474"/>
                    </a:cubicBezTo>
                    <a:cubicBezTo>
                      <a:pt x="8425802" y="3119216"/>
                      <a:pt x="8416686" y="3134499"/>
                      <a:pt x="8419672" y="3150007"/>
                    </a:cubicBezTo>
                    <a:lnTo>
                      <a:pt x="8143108" y="3243027"/>
                    </a:lnTo>
                    <a:cubicBezTo>
                      <a:pt x="8136519" y="3228807"/>
                      <a:pt x="8120398" y="3221690"/>
                      <a:pt x="8105451" y="3226401"/>
                    </a:cubicBezTo>
                    <a:cubicBezTo>
                      <a:pt x="8101626" y="3227668"/>
                      <a:pt x="8098073" y="3229642"/>
                      <a:pt x="8094977" y="3232220"/>
                    </a:cubicBezTo>
                    <a:lnTo>
                      <a:pt x="7883169" y="3045184"/>
                    </a:lnTo>
                    <a:cubicBezTo>
                      <a:pt x="7889820" y="3035438"/>
                      <a:pt x="7891599" y="3023167"/>
                      <a:pt x="7887990" y="3011933"/>
                    </a:cubicBezTo>
                    <a:cubicBezTo>
                      <a:pt x="7881935" y="2991462"/>
                      <a:pt x="7860432" y="2979775"/>
                      <a:pt x="7839960" y="2985829"/>
                    </a:cubicBezTo>
                    <a:cubicBezTo>
                      <a:pt x="7820503" y="2991584"/>
                      <a:pt x="7808807" y="3011404"/>
                      <a:pt x="7813176" y="3031219"/>
                    </a:cubicBezTo>
                    <a:lnTo>
                      <a:pt x="7563794" y="3115260"/>
                    </a:lnTo>
                    <a:cubicBezTo>
                      <a:pt x="7552990" y="3089921"/>
                      <a:pt x="7523691" y="3078138"/>
                      <a:pt x="7498352" y="3088941"/>
                    </a:cubicBezTo>
                    <a:cubicBezTo>
                      <a:pt x="7473013" y="3099744"/>
                      <a:pt x="7461230" y="3129043"/>
                      <a:pt x="7472033" y="3154382"/>
                    </a:cubicBezTo>
                    <a:cubicBezTo>
                      <a:pt x="7477880" y="3168096"/>
                      <a:pt x="7489555" y="3178475"/>
                      <a:pt x="7503859" y="3182676"/>
                    </a:cubicBezTo>
                    <a:lnTo>
                      <a:pt x="7450990" y="3442532"/>
                    </a:lnTo>
                    <a:cubicBezTo>
                      <a:pt x="7429753" y="3440874"/>
                      <a:pt x="7411192" y="3456746"/>
                      <a:pt x="7409533" y="3477983"/>
                    </a:cubicBezTo>
                    <a:cubicBezTo>
                      <a:pt x="7409245" y="3481671"/>
                      <a:pt x="7409489" y="3485382"/>
                      <a:pt x="7410258" y="3489000"/>
                    </a:cubicBezTo>
                    <a:lnTo>
                      <a:pt x="7141009" y="3579609"/>
                    </a:lnTo>
                    <a:cubicBezTo>
                      <a:pt x="7133807" y="3566702"/>
                      <a:pt x="7118532" y="3560627"/>
                      <a:pt x="7104433" y="3565062"/>
                    </a:cubicBezTo>
                    <a:cubicBezTo>
                      <a:pt x="7101076" y="3566201"/>
                      <a:pt x="7097931" y="3567887"/>
                      <a:pt x="7095122" y="3570049"/>
                    </a:cubicBezTo>
                    <a:lnTo>
                      <a:pt x="6889715" y="3388915"/>
                    </a:lnTo>
                    <a:cubicBezTo>
                      <a:pt x="6906411" y="3367005"/>
                      <a:pt x="6902184" y="3335709"/>
                      <a:pt x="6880274" y="3319014"/>
                    </a:cubicBezTo>
                    <a:cubicBezTo>
                      <a:pt x="6875454" y="3315341"/>
                      <a:pt x="6870005" y="3312578"/>
                      <a:pt x="6864195" y="3310859"/>
                    </a:cubicBezTo>
                    <a:lnTo>
                      <a:pt x="6917729" y="3044851"/>
                    </a:lnTo>
                    <a:cubicBezTo>
                      <a:pt x="6921269" y="3044983"/>
                      <a:pt x="6924808" y="3044534"/>
                      <a:pt x="6928203" y="3043521"/>
                    </a:cubicBezTo>
                    <a:cubicBezTo>
                      <a:pt x="6943256" y="3038746"/>
                      <a:pt x="6952337" y="3023444"/>
                      <a:pt x="6949317" y="3007943"/>
                    </a:cubicBezTo>
                    <a:lnTo>
                      <a:pt x="7218400" y="2917418"/>
                    </a:lnTo>
                    <a:cubicBezTo>
                      <a:pt x="7227455" y="2936750"/>
                      <a:pt x="7250467" y="2945082"/>
                      <a:pt x="7269800" y="2936027"/>
                    </a:cubicBezTo>
                    <a:cubicBezTo>
                      <a:pt x="7289133" y="2926972"/>
                      <a:pt x="7297465" y="2903960"/>
                      <a:pt x="7288410" y="2884627"/>
                    </a:cubicBezTo>
                    <a:cubicBezTo>
                      <a:pt x="7283811" y="2874808"/>
                      <a:pt x="7275299" y="2867372"/>
                      <a:pt x="7264951" y="2864133"/>
                    </a:cubicBezTo>
                    <a:lnTo>
                      <a:pt x="7317488" y="2603529"/>
                    </a:lnTo>
                    <a:cubicBezTo>
                      <a:pt x="7324182" y="2604149"/>
                      <a:pt x="7330934" y="2603443"/>
                      <a:pt x="7337355" y="2601451"/>
                    </a:cubicBezTo>
                    <a:cubicBezTo>
                      <a:pt x="7361994" y="2593735"/>
                      <a:pt x="7376671" y="2568491"/>
                      <a:pt x="7371188" y="2543262"/>
                    </a:cubicBezTo>
                    <a:lnTo>
                      <a:pt x="7630878" y="2455895"/>
                    </a:lnTo>
                    <a:cubicBezTo>
                      <a:pt x="7638044" y="2470762"/>
                      <a:pt x="7655030" y="2478123"/>
                      <a:pt x="7670779" y="2473185"/>
                    </a:cubicBezTo>
                    <a:cubicBezTo>
                      <a:pt x="7674193" y="2472062"/>
                      <a:pt x="7677396" y="2470377"/>
                      <a:pt x="7680255" y="2468197"/>
                    </a:cubicBezTo>
                    <a:lnTo>
                      <a:pt x="7882587" y="2646672"/>
                    </a:lnTo>
                    <a:cubicBezTo>
                      <a:pt x="7864176" y="2667162"/>
                      <a:pt x="7865861" y="2698697"/>
                      <a:pt x="7886351" y="2717107"/>
                    </a:cubicBezTo>
                    <a:cubicBezTo>
                      <a:pt x="7906841" y="2735518"/>
                      <a:pt x="7938375" y="2733833"/>
                      <a:pt x="7956786" y="2713344"/>
                    </a:cubicBezTo>
                    <a:cubicBezTo>
                      <a:pt x="7968344" y="2700481"/>
                      <a:pt x="7972414" y="2682550"/>
                      <a:pt x="7967543" y="2665958"/>
                    </a:cubicBezTo>
                    <a:lnTo>
                      <a:pt x="8221580" y="2580419"/>
                    </a:lnTo>
                    <a:cubicBezTo>
                      <a:pt x="8231100" y="2599579"/>
                      <a:pt x="8254348" y="2607393"/>
                      <a:pt x="8273508" y="2597874"/>
                    </a:cubicBezTo>
                    <a:cubicBezTo>
                      <a:pt x="8292667" y="2588354"/>
                      <a:pt x="8300482" y="2565106"/>
                      <a:pt x="8290962" y="2545946"/>
                    </a:cubicBezTo>
                    <a:cubicBezTo>
                      <a:pt x="8286393" y="2536751"/>
                      <a:pt x="8278361" y="2529746"/>
                      <a:pt x="8268630" y="2526470"/>
                    </a:cubicBezTo>
                    <a:lnTo>
                      <a:pt x="8320502" y="2269274"/>
                    </a:lnTo>
                    <a:cubicBezTo>
                      <a:pt x="8347860" y="2272484"/>
                      <a:pt x="8372641" y="2252909"/>
                      <a:pt x="8375851" y="2225550"/>
                    </a:cubicBezTo>
                    <a:cubicBezTo>
                      <a:pt x="8376593" y="2219228"/>
                      <a:pt x="8376118" y="2212823"/>
                      <a:pt x="8374451" y="2206679"/>
                    </a:cubicBezTo>
                    <a:lnTo>
                      <a:pt x="8614439" y="2125879"/>
                    </a:lnTo>
                    <a:cubicBezTo>
                      <a:pt x="8625483" y="2151115"/>
                      <a:pt x="8654893" y="2162619"/>
                      <a:pt x="8680128" y="2151576"/>
                    </a:cubicBezTo>
                    <a:cubicBezTo>
                      <a:pt x="8685223" y="2149346"/>
                      <a:pt x="8689909" y="2146280"/>
                      <a:pt x="8693992" y="2142505"/>
                    </a:cubicBezTo>
                    <a:lnTo>
                      <a:pt x="8897488" y="2321894"/>
                    </a:lnTo>
                    <a:cubicBezTo>
                      <a:pt x="8892585" y="2329583"/>
                      <a:pt x="8891337" y="2339049"/>
                      <a:pt x="8894080" y="2347746"/>
                    </a:cubicBezTo>
                    <a:cubicBezTo>
                      <a:pt x="8899156" y="2364149"/>
                      <a:pt x="8916568" y="2373331"/>
                      <a:pt x="8932971" y="2368254"/>
                    </a:cubicBezTo>
                    <a:cubicBezTo>
                      <a:pt x="8947674" y="2363704"/>
                      <a:pt x="8956836" y="2349079"/>
                      <a:pt x="8954513" y="2333864"/>
                    </a:cubicBezTo>
                    <a:lnTo>
                      <a:pt x="9215366" y="2246082"/>
                    </a:lnTo>
                    <a:cubicBezTo>
                      <a:pt x="9225400" y="2269751"/>
                      <a:pt x="9251782" y="2281916"/>
                      <a:pt x="9276299" y="2274179"/>
                    </a:cubicBezTo>
                    <a:cubicBezTo>
                      <a:pt x="9282813" y="2272082"/>
                      <a:pt x="9288836" y="2268689"/>
                      <a:pt x="9294005" y="2264203"/>
                    </a:cubicBezTo>
                    <a:lnTo>
                      <a:pt x="9495090" y="2441431"/>
                    </a:lnTo>
                    <a:cubicBezTo>
                      <a:pt x="9486230" y="2456139"/>
                      <a:pt x="9490971" y="2475244"/>
                      <a:pt x="9505679" y="2484104"/>
                    </a:cubicBezTo>
                    <a:cubicBezTo>
                      <a:pt x="9520388" y="2492963"/>
                      <a:pt x="9539493" y="2488222"/>
                      <a:pt x="9548352" y="2473514"/>
                    </a:cubicBezTo>
                    <a:cubicBezTo>
                      <a:pt x="9551736" y="2467895"/>
                      <a:pt x="9553257" y="2461350"/>
                      <a:pt x="9552696" y="2454814"/>
                    </a:cubicBezTo>
                    <a:lnTo>
                      <a:pt x="9811056" y="2367863"/>
                    </a:lnTo>
                    <a:cubicBezTo>
                      <a:pt x="9823137" y="2392619"/>
                      <a:pt x="9852999" y="2402893"/>
                      <a:pt x="9877754" y="2390813"/>
                    </a:cubicBezTo>
                    <a:cubicBezTo>
                      <a:pt x="9902510" y="2378732"/>
                      <a:pt x="9912785" y="2348870"/>
                      <a:pt x="9900703" y="2324115"/>
                    </a:cubicBezTo>
                    <a:cubicBezTo>
                      <a:pt x="9894803" y="2312024"/>
                      <a:pt x="9884268" y="2302829"/>
                      <a:pt x="9871489" y="2298618"/>
                    </a:cubicBezTo>
                    <a:lnTo>
                      <a:pt x="9924609" y="2035104"/>
                    </a:lnTo>
                    <a:cubicBezTo>
                      <a:pt x="9941833" y="2036255"/>
                      <a:pt x="9956728" y="2023226"/>
                      <a:pt x="9957879" y="2006002"/>
                    </a:cubicBezTo>
                    <a:cubicBezTo>
                      <a:pt x="9959030" y="1988779"/>
                      <a:pt x="9946000" y="1973883"/>
                      <a:pt x="9928776" y="1972732"/>
                    </a:cubicBezTo>
                    <a:cubicBezTo>
                      <a:pt x="9921081" y="1972218"/>
                      <a:pt x="9913469" y="1974566"/>
                      <a:pt x="9907401" y="1979326"/>
                    </a:cubicBezTo>
                    <a:lnTo>
                      <a:pt x="9703074" y="1799189"/>
                    </a:lnTo>
                    <a:cubicBezTo>
                      <a:pt x="9719573" y="1777131"/>
                      <a:pt x="9715066" y="1745874"/>
                      <a:pt x="9693008" y="1729375"/>
                    </a:cubicBezTo>
                    <a:cubicBezTo>
                      <a:pt x="9670950" y="1712877"/>
                      <a:pt x="9639693" y="1717384"/>
                      <a:pt x="9623194" y="1739442"/>
                    </a:cubicBezTo>
                    <a:cubicBezTo>
                      <a:pt x="9614394" y="1751208"/>
                      <a:pt x="9611229" y="1766255"/>
                      <a:pt x="9614545" y="1780569"/>
                    </a:cubicBezTo>
                    <a:lnTo>
                      <a:pt x="9355436" y="1867769"/>
                    </a:lnTo>
                    <a:cubicBezTo>
                      <a:pt x="9347172" y="1852718"/>
                      <a:pt x="9328272" y="1847216"/>
                      <a:pt x="9313221" y="1855481"/>
                    </a:cubicBezTo>
                    <a:cubicBezTo>
                      <a:pt x="9311573" y="1856385"/>
                      <a:pt x="9310010" y="1857438"/>
                      <a:pt x="9308552" y="1858625"/>
                    </a:cubicBezTo>
                    <a:lnTo>
                      <a:pt x="9093585" y="1669428"/>
                    </a:lnTo>
                    <a:cubicBezTo>
                      <a:pt x="9104970" y="1653188"/>
                      <a:pt x="9101034" y="1630793"/>
                      <a:pt x="9084794" y="1619408"/>
                    </a:cubicBezTo>
                    <a:cubicBezTo>
                      <a:pt x="9068555" y="1608024"/>
                      <a:pt x="9046160" y="1611959"/>
                      <a:pt x="9034775" y="1628199"/>
                    </a:cubicBezTo>
                    <a:cubicBezTo>
                      <a:pt x="9029288" y="1636027"/>
                      <a:pt x="9027148" y="1645719"/>
                      <a:pt x="9028829" y="1655130"/>
                    </a:cubicBezTo>
                    <a:lnTo>
                      <a:pt x="8757252" y="1746736"/>
                    </a:lnTo>
                    <a:cubicBezTo>
                      <a:pt x="8750646" y="1732624"/>
                      <a:pt x="8734655" y="1725533"/>
                      <a:pt x="8719761" y="1730110"/>
                    </a:cubicBezTo>
                    <a:cubicBezTo>
                      <a:pt x="8715544" y="1731510"/>
                      <a:pt x="8711665" y="1733775"/>
                      <a:pt x="8708373" y="1736761"/>
                    </a:cubicBezTo>
                    <a:lnTo>
                      <a:pt x="8504545" y="1556873"/>
                    </a:lnTo>
                    <a:cubicBezTo>
                      <a:pt x="8521471" y="1535141"/>
                      <a:pt x="8517574" y="1503802"/>
                      <a:pt x="8495841" y="1486876"/>
                    </a:cubicBezTo>
                    <a:cubicBezTo>
                      <a:pt x="8490764" y="1482922"/>
                      <a:pt x="8484969" y="1479987"/>
                      <a:pt x="8478776" y="1478235"/>
                    </a:cubicBezTo>
                    <a:lnTo>
                      <a:pt x="8531894" y="1214721"/>
                    </a:lnTo>
                    <a:cubicBezTo>
                      <a:pt x="8535625" y="1215007"/>
                      <a:pt x="8539376" y="1214583"/>
                      <a:pt x="8542950" y="1213475"/>
                    </a:cubicBezTo>
                    <a:cubicBezTo>
                      <a:pt x="8558829" y="1208406"/>
                      <a:pt x="8567911" y="1191743"/>
                      <a:pt x="8563565" y="1175652"/>
                    </a:cubicBezTo>
                    <a:lnTo>
                      <a:pt x="8835392" y="1084211"/>
                    </a:lnTo>
                    <a:cubicBezTo>
                      <a:pt x="8844054" y="1102104"/>
                      <a:pt x="8865580" y="1109587"/>
                      <a:pt x="8883473" y="1100925"/>
                    </a:cubicBezTo>
                    <a:cubicBezTo>
                      <a:pt x="8901366" y="1092263"/>
                      <a:pt x="8908849" y="1070737"/>
                      <a:pt x="8900187" y="1052844"/>
                    </a:cubicBezTo>
                    <a:cubicBezTo>
                      <a:pt x="8895936" y="1044063"/>
                      <a:pt x="8888302" y="1037383"/>
                      <a:pt x="8879034" y="1034335"/>
                    </a:cubicBezTo>
                    <a:lnTo>
                      <a:pt x="8935477" y="754362"/>
                    </a:lnTo>
                    <a:cubicBezTo>
                      <a:pt x="8938631" y="754404"/>
                      <a:pt x="8941771" y="753956"/>
                      <a:pt x="8944787" y="753032"/>
                    </a:cubicBezTo>
                    <a:cubicBezTo>
                      <a:pt x="8959643" y="748309"/>
                      <a:pt x="8968682" y="733291"/>
                      <a:pt x="8965901" y="717953"/>
                    </a:cubicBezTo>
                    <a:lnTo>
                      <a:pt x="9235566" y="627178"/>
                    </a:lnTo>
                    <a:cubicBezTo>
                      <a:pt x="9245237" y="646261"/>
                      <a:pt x="9268547" y="653892"/>
                      <a:pt x="9287630" y="644221"/>
                    </a:cubicBezTo>
                    <a:cubicBezTo>
                      <a:pt x="9306714" y="634550"/>
                      <a:pt x="9314344" y="611240"/>
                      <a:pt x="9304673" y="592156"/>
                    </a:cubicBezTo>
                    <a:cubicBezTo>
                      <a:pt x="9300171" y="583273"/>
                      <a:pt x="9292421" y="576465"/>
                      <a:pt x="9283031" y="573145"/>
                    </a:cubicBezTo>
                    <a:lnTo>
                      <a:pt x="9338561" y="297495"/>
                    </a:lnTo>
                    <a:cubicBezTo>
                      <a:pt x="9355724" y="297998"/>
                      <a:pt x="9370045" y="284493"/>
                      <a:pt x="9370548" y="267330"/>
                    </a:cubicBezTo>
                    <a:cubicBezTo>
                      <a:pt x="9371052" y="250167"/>
                      <a:pt x="9357546" y="235846"/>
                      <a:pt x="9340383" y="235343"/>
                    </a:cubicBezTo>
                    <a:cubicBezTo>
                      <a:pt x="9336951" y="235242"/>
                      <a:pt x="9333527" y="235710"/>
                      <a:pt x="9330248" y="236729"/>
                    </a:cubicBezTo>
                    <a:cubicBezTo>
                      <a:pt x="9326892" y="237869"/>
                      <a:pt x="9323746" y="239554"/>
                      <a:pt x="9320938" y="241717"/>
                    </a:cubicBezTo>
                    <a:lnTo>
                      <a:pt x="9102646" y="49277"/>
                    </a:lnTo>
                    <a:cubicBezTo>
                      <a:pt x="9112689" y="35350"/>
                      <a:pt x="9109541" y="15919"/>
                      <a:pt x="9095615" y="5876"/>
                    </a:cubicBezTo>
                    <a:cubicBezTo>
                      <a:pt x="9081688" y="-4168"/>
                      <a:pt x="9062257" y="-1020"/>
                      <a:pt x="9052213" y="12907"/>
                    </a:cubicBezTo>
                    <a:cubicBezTo>
                      <a:pt x="9047151" y="19927"/>
                      <a:pt x="9045243" y="28739"/>
                      <a:pt x="9046951" y="37224"/>
                    </a:cubicBezTo>
                    <a:lnTo>
                      <a:pt x="8776704" y="128248"/>
                    </a:lnTo>
                    <a:cubicBezTo>
                      <a:pt x="8767363" y="109001"/>
                      <a:pt x="8744189" y="100969"/>
                      <a:pt x="8724941" y="110310"/>
                    </a:cubicBezTo>
                    <a:cubicBezTo>
                      <a:pt x="8705694" y="119650"/>
                      <a:pt x="8697662" y="142825"/>
                      <a:pt x="8707003" y="162073"/>
                    </a:cubicBezTo>
                    <a:cubicBezTo>
                      <a:pt x="8711659" y="171666"/>
                      <a:pt x="8720063" y="178916"/>
                      <a:pt x="8730236" y="182114"/>
                    </a:cubicBezTo>
                    <a:lnTo>
                      <a:pt x="8674125" y="459178"/>
                    </a:lnTo>
                    <a:cubicBezTo>
                      <a:pt x="8670251" y="458882"/>
                      <a:pt x="8666356" y="459334"/>
                      <a:pt x="8662653" y="460508"/>
                    </a:cubicBezTo>
                    <a:cubicBezTo>
                      <a:pt x="8647625" y="465315"/>
                      <a:pt x="8638559" y="480592"/>
                      <a:pt x="8641539" y="496086"/>
                    </a:cubicBezTo>
                    <a:lnTo>
                      <a:pt x="8365557" y="588939"/>
                    </a:lnTo>
                    <a:cubicBezTo>
                      <a:pt x="8357439" y="573757"/>
                      <a:pt x="8338550" y="568030"/>
                      <a:pt x="8323368" y="576148"/>
                    </a:cubicBezTo>
                    <a:cubicBezTo>
                      <a:pt x="8308186" y="584266"/>
                      <a:pt x="8302459" y="603154"/>
                      <a:pt x="8310577" y="618337"/>
                    </a:cubicBezTo>
                    <a:cubicBezTo>
                      <a:pt x="8314311" y="625321"/>
                      <a:pt x="8320564" y="630622"/>
                      <a:pt x="8328066" y="633163"/>
                    </a:cubicBezTo>
                    <a:lnTo>
                      <a:pt x="8272287" y="909727"/>
                    </a:lnTo>
                    <a:cubicBezTo>
                      <a:pt x="8266970" y="909146"/>
                      <a:pt x="8261590" y="909684"/>
                      <a:pt x="8256493" y="911307"/>
                    </a:cubicBezTo>
                    <a:cubicBezTo>
                      <a:pt x="8237365" y="917446"/>
                      <a:pt x="8226105" y="937188"/>
                      <a:pt x="8230557" y="956777"/>
                    </a:cubicBezTo>
                    <a:lnTo>
                      <a:pt x="7981176" y="1040736"/>
                    </a:lnTo>
                    <a:cubicBezTo>
                      <a:pt x="7970580" y="1018081"/>
                      <a:pt x="7944843" y="1006777"/>
                      <a:pt x="7920992" y="1014302"/>
                    </a:cubicBezTo>
                    <a:cubicBezTo>
                      <a:pt x="7914097" y="1016464"/>
                      <a:pt x="7907767" y="1020126"/>
                      <a:pt x="7902455" y="1025025"/>
                    </a:cubicBezTo>
                    <a:lnTo>
                      <a:pt x="7698128" y="844888"/>
                    </a:lnTo>
                    <a:cubicBezTo>
                      <a:pt x="7707120" y="830261"/>
                      <a:pt x="7702551" y="811113"/>
                      <a:pt x="7687924" y="802121"/>
                    </a:cubicBezTo>
                    <a:cubicBezTo>
                      <a:pt x="7673296" y="793129"/>
                      <a:pt x="7654149" y="797698"/>
                      <a:pt x="7645157" y="812325"/>
                    </a:cubicBezTo>
                    <a:cubicBezTo>
                      <a:pt x="7641373" y="818481"/>
                      <a:pt x="7639851" y="825762"/>
                      <a:pt x="7640853" y="832918"/>
                    </a:cubicBezTo>
                    <a:lnTo>
                      <a:pt x="7372933" y="923111"/>
                    </a:lnTo>
                    <a:cubicBezTo>
                      <a:pt x="7363997" y="903673"/>
                      <a:pt x="7340994" y="895160"/>
                      <a:pt x="7321556" y="904097"/>
                    </a:cubicBezTo>
                    <a:cubicBezTo>
                      <a:pt x="7302119" y="913034"/>
                      <a:pt x="7293605" y="936036"/>
                      <a:pt x="7302543" y="955475"/>
                    </a:cubicBezTo>
                    <a:cubicBezTo>
                      <a:pt x="7307028" y="965229"/>
                      <a:pt x="7315360" y="972685"/>
                      <a:pt x="7325551" y="976063"/>
                    </a:cubicBezTo>
                    <a:lnTo>
                      <a:pt x="7269274" y="1253209"/>
                    </a:lnTo>
                    <a:cubicBezTo>
                      <a:pt x="7252105" y="1253052"/>
                      <a:pt x="7238058" y="1266843"/>
                      <a:pt x="7237901" y="1284013"/>
                    </a:cubicBezTo>
                    <a:cubicBezTo>
                      <a:pt x="7237744" y="1301182"/>
                      <a:pt x="7251535" y="1315229"/>
                      <a:pt x="7268704" y="1315386"/>
                    </a:cubicBezTo>
                    <a:cubicBezTo>
                      <a:pt x="7271941" y="1315416"/>
                      <a:pt x="7275162" y="1314940"/>
                      <a:pt x="7278251" y="1313975"/>
                    </a:cubicBezTo>
                    <a:cubicBezTo>
                      <a:pt x="7281608" y="1312836"/>
                      <a:pt x="7284753" y="1311151"/>
                      <a:pt x="7287562" y="1308988"/>
                    </a:cubicBezTo>
                    <a:lnTo>
                      <a:pt x="7506270" y="1501760"/>
                    </a:lnTo>
                    <a:cubicBezTo>
                      <a:pt x="7497020" y="1516226"/>
                      <a:pt x="7501249" y="1535451"/>
                      <a:pt x="7515714" y="1544701"/>
                    </a:cubicBezTo>
                    <a:cubicBezTo>
                      <a:pt x="7530180" y="1553951"/>
                      <a:pt x="7549405" y="1549723"/>
                      <a:pt x="7558655" y="1535257"/>
                    </a:cubicBezTo>
                    <a:cubicBezTo>
                      <a:pt x="7562973" y="1528505"/>
                      <a:pt x="7564516" y="1520346"/>
                      <a:pt x="7562963" y="1512483"/>
                    </a:cubicBezTo>
                    <a:lnTo>
                      <a:pt x="7831131" y="1422540"/>
                    </a:lnTo>
                    <a:cubicBezTo>
                      <a:pt x="7840529" y="1441708"/>
                      <a:pt x="7863687" y="1449628"/>
                      <a:pt x="7882855" y="1440230"/>
                    </a:cubicBezTo>
                    <a:cubicBezTo>
                      <a:pt x="7885911" y="1438732"/>
                      <a:pt x="7888756" y="1436836"/>
                      <a:pt x="7891316" y="1434593"/>
                    </a:cubicBezTo>
                    <a:lnTo>
                      <a:pt x="8103706" y="1622045"/>
                    </a:lnTo>
                    <a:cubicBezTo>
                      <a:pt x="8094405" y="1636424"/>
                      <a:pt x="8098521" y="1655619"/>
                      <a:pt x="8112900" y="1664920"/>
                    </a:cubicBezTo>
                    <a:cubicBezTo>
                      <a:pt x="8115210" y="1666415"/>
                      <a:pt x="8117709" y="1667595"/>
                      <a:pt x="8120331" y="1668430"/>
                    </a:cubicBezTo>
                    <a:lnTo>
                      <a:pt x="8066298" y="1936515"/>
                    </a:lnTo>
                    <a:cubicBezTo>
                      <a:pt x="8059444" y="1935824"/>
                      <a:pt x="8052521" y="1936502"/>
                      <a:pt x="8045932" y="1938510"/>
                    </a:cubicBezTo>
                    <a:cubicBezTo>
                      <a:pt x="8021060" y="1946489"/>
                      <a:pt x="8006557" y="1972305"/>
                      <a:pt x="8012681" y="1997697"/>
                    </a:cubicBezTo>
                    <a:lnTo>
                      <a:pt x="7762385" y="2081905"/>
                    </a:lnTo>
                    <a:cubicBezTo>
                      <a:pt x="7753005" y="2062779"/>
                      <a:pt x="7729896" y="2054879"/>
                      <a:pt x="7710770" y="2064259"/>
                    </a:cubicBezTo>
                    <a:cubicBezTo>
                      <a:pt x="7707736" y="2065747"/>
                      <a:pt x="7704911" y="2067627"/>
                      <a:pt x="7702367" y="2069852"/>
                    </a:cubicBezTo>
                    <a:lnTo>
                      <a:pt x="7496211" y="1888052"/>
                    </a:lnTo>
                    <a:cubicBezTo>
                      <a:pt x="7509023" y="1870918"/>
                      <a:pt x="7505519" y="1846643"/>
                      <a:pt x="7488385" y="1833831"/>
                    </a:cubicBezTo>
                    <a:cubicBezTo>
                      <a:pt x="7471251" y="1821020"/>
                      <a:pt x="7446976" y="1824524"/>
                      <a:pt x="7434164" y="1841657"/>
                    </a:cubicBezTo>
                    <a:cubicBezTo>
                      <a:pt x="7427653" y="1850365"/>
                      <a:pt x="7425101" y="1861410"/>
                      <a:pt x="7427133" y="1872092"/>
                    </a:cubicBezTo>
                    <a:lnTo>
                      <a:pt x="7174675" y="1957048"/>
                    </a:lnTo>
                    <a:cubicBezTo>
                      <a:pt x="7164126" y="1931602"/>
                      <a:pt x="7134947" y="1919525"/>
                      <a:pt x="7109501" y="1930074"/>
                    </a:cubicBezTo>
                    <a:cubicBezTo>
                      <a:pt x="7084055" y="1940623"/>
                      <a:pt x="7071978" y="1969803"/>
                      <a:pt x="7082527" y="1995249"/>
                    </a:cubicBezTo>
                    <a:cubicBezTo>
                      <a:pt x="7088365" y="2009332"/>
                      <a:pt x="7100323" y="2019971"/>
                      <a:pt x="7114990" y="2024132"/>
                    </a:cubicBezTo>
                    <a:lnTo>
                      <a:pt x="7061456" y="2291303"/>
                    </a:lnTo>
                    <a:cubicBezTo>
                      <a:pt x="7057698" y="2291021"/>
                      <a:pt x="7053920" y="2291444"/>
                      <a:pt x="7050317" y="2292550"/>
                    </a:cubicBezTo>
                    <a:cubicBezTo>
                      <a:pt x="7035580" y="2297295"/>
                      <a:pt x="7027140" y="2312749"/>
                      <a:pt x="7031114" y="2327713"/>
                    </a:cubicBezTo>
                    <a:lnTo>
                      <a:pt x="6753719" y="2421064"/>
                    </a:lnTo>
                    <a:cubicBezTo>
                      <a:pt x="6745567" y="2404609"/>
                      <a:pt x="6725618" y="2397878"/>
                      <a:pt x="6709163" y="2406030"/>
                    </a:cubicBezTo>
                    <a:cubicBezTo>
                      <a:pt x="6692707" y="2414182"/>
                      <a:pt x="6685976" y="2434130"/>
                      <a:pt x="6694129" y="2450585"/>
                    </a:cubicBezTo>
                    <a:cubicBezTo>
                      <a:pt x="6698101" y="2458605"/>
                      <a:pt x="6705140" y="2464684"/>
                      <a:pt x="6713652" y="2467449"/>
                    </a:cubicBezTo>
                    <a:lnTo>
                      <a:pt x="6659286" y="2736865"/>
                    </a:lnTo>
                    <a:cubicBezTo>
                      <a:pt x="6653514" y="2736368"/>
                      <a:pt x="6647699" y="2736989"/>
                      <a:pt x="6642162" y="2738693"/>
                    </a:cubicBezTo>
                    <a:cubicBezTo>
                      <a:pt x="6620247" y="2745646"/>
                      <a:pt x="6607485" y="2768407"/>
                      <a:pt x="6612984" y="2790731"/>
                    </a:cubicBezTo>
                    <a:lnTo>
                      <a:pt x="6361275" y="2875521"/>
                    </a:lnTo>
                    <a:cubicBezTo>
                      <a:pt x="6353521" y="2855779"/>
                      <a:pt x="6331231" y="2846060"/>
                      <a:pt x="6311489" y="2853814"/>
                    </a:cubicBezTo>
                    <a:cubicBezTo>
                      <a:pt x="6305516" y="2856159"/>
                      <a:pt x="6300227" y="2859964"/>
                      <a:pt x="6296104" y="2864881"/>
                    </a:cubicBezTo>
                    <a:lnTo>
                      <a:pt x="6083048" y="2677761"/>
                    </a:lnTo>
                    <a:cubicBezTo>
                      <a:pt x="6091802" y="2662991"/>
                      <a:pt x="6086926" y="2643920"/>
                      <a:pt x="6072155" y="2635165"/>
                    </a:cubicBezTo>
                    <a:cubicBezTo>
                      <a:pt x="6057385" y="2626410"/>
                      <a:pt x="6038313" y="2631287"/>
                      <a:pt x="6029558" y="2646057"/>
                    </a:cubicBezTo>
                    <a:cubicBezTo>
                      <a:pt x="6025950" y="2652146"/>
                      <a:pt x="6024526" y="2659283"/>
                      <a:pt x="6025524" y="2666290"/>
                    </a:cubicBezTo>
                    <a:lnTo>
                      <a:pt x="5770240" y="2752244"/>
                    </a:lnTo>
                    <a:cubicBezTo>
                      <a:pt x="5758891" y="2727144"/>
                      <a:pt x="5729344" y="2715997"/>
                      <a:pt x="5704244" y="2727346"/>
                    </a:cubicBezTo>
                    <a:cubicBezTo>
                      <a:pt x="5698619" y="2729890"/>
                      <a:pt x="5693515" y="2733456"/>
                      <a:pt x="5689191" y="2737862"/>
                    </a:cubicBezTo>
                    <a:lnTo>
                      <a:pt x="5482786" y="2555980"/>
                    </a:lnTo>
                    <a:cubicBezTo>
                      <a:pt x="5491566" y="2541439"/>
                      <a:pt x="5486896" y="2522533"/>
                      <a:pt x="5472354" y="2513753"/>
                    </a:cubicBezTo>
                    <a:cubicBezTo>
                      <a:pt x="5470781" y="2512802"/>
                      <a:pt x="5469125" y="2511995"/>
                      <a:pt x="5467407" y="2511341"/>
                    </a:cubicBezTo>
                    <a:lnTo>
                      <a:pt x="5525596" y="2223970"/>
                    </a:lnTo>
                    <a:cubicBezTo>
                      <a:pt x="5529222" y="2224181"/>
                      <a:pt x="5532856" y="2223730"/>
                      <a:pt x="5536320" y="2222640"/>
                    </a:cubicBezTo>
                    <a:cubicBezTo>
                      <a:pt x="5551013" y="2217942"/>
                      <a:pt x="5560060" y="2203204"/>
                      <a:pt x="5557600" y="2187975"/>
                    </a:cubicBezTo>
                    <a:lnTo>
                      <a:pt x="5824605" y="2098115"/>
                    </a:lnTo>
                    <a:cubicBezTo>
                      <a:pt x="5834513" y="2117077"/>
                      <a:pt x="5857916" y="2124416"/>
                      <a:pt x="5876878" y="2114509"/>
                    </a:cubicBezTo>
                    <a:cubicBezTo>
                      <a:pt x="5895839" y="2104601"/>
                      <a:pt x="5903179" y="2081198"/>
                      <a:pt x="5893271" y="2062236"/>
                    </a:cubicBezTo>
                    <a:cubicBezTo>
                      <a:pt x="5888859" y="2053791"/>
                      <a:pt x="5881489" y="2047269"/>
                      <a:pt x="5872569" y="2043916"/>
                    </a:cubicBezTo>
                    <a:lnTo>
                      <a:pt x="5928514" y="1766520"/>
                    </a:lnTo>
                    <a:cubicBezTo>
                      <a:pt x="5932218" y="1766807"/>
                      <a:pt x="5935942" y="1766384"/>
                      <a:pt x="5939487" y="1765273"/>
                    </a:cubicBezTo>
                    <a:cubicBezTo>
                      <a:pt x="5954429" y="1760508"/>
                      <a:pt x="5963482" y="1745360"/>
                      <a:pt x="5960601" y="1729944"/>
                    </a:cubicBezTo>
                    <a:lnTo>
                      <a:pt x="6224697" y="1641081"/>
                    </a:lnTo>
                    <a:cubicBezTo>
                      <a:pt x="6234516" y="1662892"/>
                      <a:pt x="6260156" y="1672614"/>
                      <a:pt x="6281967" y="1662795"/>
                    </a:cubicBezTo>
                    <a:cubicBezTo>
                      <a:pt x="6286662" y="1660682"/>
                      <a:pt x="6290942" y="1657748"/>
                      <a:pt x="6294607" y="1654132"/>
                    </a:cubicBezTo>
                    <a:lnTo>
                      <a:pt x="6501511" y="1836513"/>
                    </a:lnTo>
                    <a:cubicBezTo>
                      <a:pt x="6490858" y="1851472"/>
                      <a:pt x="6494349" y="1872234"/>
                      <a:pt x="6509308" y="1882886"/>
                    </a:cubicBezTo>
                    <a:cubicBezTo>
                      <a:pt x="6524267" y="1893539"/>
                      <a:pt x="6545029" y="1890048"/>
                      <a:pt x="6555681" y="1875089"/>
                    </a:cubicBezTo>
                    <a:cubicBezTo>
                      <a:pt x="6560825" y="1867865"/>
                      <a:pt x="6562870" y="1858885"/>
                      <a:pt x="6561362" y="1850146"/>
                    </a:cubicBezTo>
                    <a:lnTo>
                      <a:pt x="6829863" y="1759704"/>
                    </a:lnTo>
                    <a:cubicBezTo>
                      <a:pt x="6838865" y="1779112"/>
                      <a:pt x="6861895" y="1787549"/>
                      <a:pt x="6881303" y="1778548"/>
                    </a:cubicBezTo>
                    <a:cubicBezTo>
                      <a:pt x="6900712" y="1769547"/>
                      <a:pt x="6909149" y="1746517"/>
                      <a:pt x="6900148" y="1727108"/>
                    </a:cubicBezTo>
                    <a:cubicBezTo>
                      <a:pt x="6895504" y="1717096"/>
                      <a:pt x="6886810" y="1709539"/>
                      <a:pt x="6876249" y="1706336"/>
                    </a:cubicBezTo>
                    <a:lnTo>
                      <a:pt x="6928452" y="1447478"/>
                    </a:lnTo>
                    <a:cubicBezTo>
                      <a:pt x="6935147" y="1448098"/>
                      <a:pt x="6941898" y="1447392"/>
                      <a:pt x="6948320" y="1445400"/>
                    </a:cubicBezTo>
                    <a:cubicBezTo>
                      <a:pt x="6974600" y="1437146"/>
                      <a:pt x="6989214" y="1409151"/>
                      <a:pt x="6980961" y="1382870"/>
                    </a:cubicBezTo>
                    <a:cubicBezTo>
                      <a:pt x="6972707" y="1356590"/>
                      <a:pt x="6944712" y="1341976"/>
                      <a:pt x="6918432" y="1350230"/>
                    </a:cubicBezTo>
                    <a:cubicBezTo>
                      <a:pt x="6911433" y="1352428"/>
                      <a:pt x="6905006" y="1356142"/>
                      <a:pt x="6899607" y="1361108"/>
                    </a:cubicBezTo>
                    <a:lnTo>
                      <a:pt x="6694283" y="1180057"/>
                    </a:lnTo>
                    <a:cubicBezTo>
                      <a:pt x="6702751" y="1166455"/>
                      <a:pt x="6698589" y="1148564"/>
                      <a:pt x="6684987" y="1140096"/>
                    </a:cubicBezTo>
                    <a:cubicBezTo>
                      <a:pt x="6671385" y="1131628"/>
                      <a:pt x="6653494" y="1135789"/>
                      <a:pt x="6645026" y="1149391"/>
                    </a:cubicBezTo>
                    <a:cubicBezTo>
                      <a:pt x="6641340" y="1155312"/>
                      <a:pt x="6639910" y="1162362"/>
                      <a:pt x="6640998" y="1169251"/>
                    </a:cubicBezTo>
                    <a:lnTo>
                      <a:pt x="6362273" y="1263018"/>
                    </a:lnTo>
                    <a:cubicBezTo>
                      <a:pt x="6355721" y="1248851"/>
                      <a:pt x="6339680" y="1241738"/>
                      <a:pt x="6324782" y="1246393"/>
                    </a:cubicBezTo>
                    <a:cubicBezTo>
                      <a:pt x="6320963" y="1247633"/>
                      <a:pt x="6317409" y="1249578"/>
                      <a:pt x="6314308" y="1252129"/>
                    </a:cubicBezTo>
                    <a:lnTo>
                      <a:pt x="6105492" y="1069249"/>
                    </a:lnTo>
                    <a:cubicBezTo>
                      <a:pt x="6119504" y="1049243"/>
                      <a:pt x="6114644" y="1021667"/>
                      <a:pt x="6094639" y="1007656"/>
                    </a:cubicBezTo>
                    <a:cubicBezTo>
                      <a:pt x="6074633" y="993645"/>
                      <a:pt x="6047057" y="998504"/>
                      <a:pt x="6033046" y="1018509"/>
                    </a:cubicBezTo>
                    <a:cubicBezTo>
                      <a:pt x="6025846" y="1028789"/>
                      <a:pt x="6023353" y="1041644"/>
                      <a:pt x="6026189" y="1053870"/>
                    </a:cubicBezTo>
                    <a:lnTo>
                      <a:pt x="5767996" y="1140821"/>
                    </a:lnTo>
                    <a:cubicBezTo>
                      <a:pt x="5759078" y="1123055"/>
                      <a:pt x="5737446" y="1115882"/>
                      <a:pt x="5719680" y="1124800"/>
                    </a:cubicBezTo>
                    <a:cubicBezTo>
                      <a:pt x="5701913" y="1133718"/>
                      <a:pt x="5694740" y="1155350"/>
                      <a:pt x="5703658" y="1173116"/>
                    </a:cubicBezTo>
                    <a:cubicBezTo>
                      <a:pt x="5707931" y="1181628"/>
                      <a:pt x="5715403" y="1188100"/>
                      <a:pt x="5724437" y="1191113"/>
                    </a:cubicBezTo>
                    <a:lnTo>
                      <a:pt x="5670737" y="1457121"/>
                    </a:lnTo>
                    <a:cubicBezTo>
                      <a:pt x="5664614" y="1456382"/>
                      <a:pt x="5658403" y="1456977"/>
                      <a:pt x="5652532" y="1458866"/>
                    </a:cubicBezTo>
                    <a:cubicBezTo>
                      <a:pt x="5630370" y="1465862"/>
                      <a:pt x="5617579" y="1488997"/>
                      <a:pt x="5623437" y="1511486"/>
                    </a:cubicBezTo>
                    <a:lnTo>
                      <a:pt x="5366491" y="1598437"/>
                    </a:lnTo>
                    <a:cubicBezTo>
                      <a:pt x="5356786" y="1579371"/>
                      <a:pt x="5333462" y="1571782"/>
                      <a:pt x="5314396" y="1581486"/>
                    </a:cubicBezTo>
                    <a:cubicBezTo>
                      <a:pt x="5295330" y="1591191"/>
                      <a:pt x="5287740" y="1614514"/>
                      <a:pt x="5297445" y="1633580"/>
                    </a:cubicBezTo>
                    <a:cubicBezTo>
                      <a:pt x="5302002" y="1642533"/>
                      <a:pt x="5309859" y="1649366"/>
                      <a:pt x="5319358" y="1652636"/>
                    </a:cubicBezTo>
                    <a:lnTo>
                      <a:pt x="5266904" y="1912990"/>
                    </a:lnTo>
                    <a:cubicBezTo>
                      <a:pt x="5260341" y="1912441"/>
                      <a:pt x="5253735" y="1913175"/>
                      <a:pt x="5247453" y="1915152"/>
                    </a:cubicBezTo>
                    <a:cubicBezTo>
                      <a:pt x="5223194" y="1922840"/>
                      <a:pt x="5208613" y="1947559"/>
                      <a:pt x="5213620" y="1972510"/>
                    </a:cubicBezTo>
                    <a:lnTo>
                      <a:pt x="4966565" y="2055637"/>
                    </a:lnTo>
                    <a:cubicBezTo>
                      <a:pt x="4957054" y="2036287"/>
                      <a:pt x="4934857" y="2026759"/>
                      <a:pt x="4914278" y="2033192"/>
                    </a:cubicBezTo>
                    <a:cubicBezTo>
                      <a:pt x="4908832" y="2034929"/>
                      <a:pt x="4903798" y="2037758"/>
                      <a:pt x="4899482" y="2041505"/>
                    </a:cubicBezTo>
                    <a:lnTo>
                      <a:pt x="4700641" y="1866024"/>
                    </a:lnTo>
                    <a:cubicBezTo>
                      <a:pt x="4715325" y="1846852"/>
                      <a:pt x="4711686" y="1819407"/>
                      <a:pt x="4692515" y="1804724"/>
                    </a:cubicBezTo>
                    <a:cubicBezTo>
                      <a:pt x="4673343" y="1790040"/>
                      <a:pt x="4645898" y="1793679"/>
                      <a:pt x="4631215" y="1812850"/>
                    </a:cubicBezTo>
                    <a:cubicBezTo>
                      <a:pt x="4623437" y="1823006"/>
                      <a:pt x="4620496" y="1836057"/>
                      <a:pt x="4623167" y="1848567"/>
                    </a:cubicBezTo>
                    <a:lnTo>
                      <a:pt x="4363477" y="1935934"/>
                    </a:lnTo>
                    <a:cubicBezTo>
                      <a:pt x="4355009" y="1916387"/>
                      <a:pt x="4332298" y="1907407"/>
                      <a:pt x="4312751" y="1915875"/>
                    </a:cubicBezTo>
                    <a:cubicBezTo>
                      <a:pt x="4309097" y="1917459"/>
                      <a:pt x="4305710" y="1919598"/>
                      <a:pt x="4302711" y="1922218"/>
                    </a:cubicBezTo>
                    <a:lnTo>
                      <a:pt x="4094893" y="1739337"/>
                    </a:lnTo>
                    <a:cubicBezTo>
                      <a:pt x="4105149" y="1724104"/>
                      <a:pt x="4101114" y="1703441"/>
                      <a:pt x="4085881" y="1693185"/>
                    </a:cubicBezTo>
                    <a:cubicBezTo>
                      <a:pt x="4082720" y="1691057"/>
                      <a:pt x="4079217" y="1689488"/>
                      <a:pt x="4075524" y="1688547"/>
                    </a:cubicBezTo>
                    <a:lnTo>
                      <a:pt x="4129474" y="1421043"/>
                    </a:lnTo>
                    <a:cubicBezTo>
                      <a:pt x="4135845" y="1421562"/>
                      <a:pt x="4142255" y="1420827"/>
                      <a:pt x="4148344" y="1418882"/>
                    </a:cubicBezTo>
                    <a:cubicBezTo>
                      <a:pt x="4174636" y="1410667"/>
                      <a:pt x="4189291" y="1382694"/>
                      <a:pt x="4181077" y="1356401"/>
                    </a:cubicBezTo>
                    <a:cubicBezTo>
                      <a:pt x="4172862" y="1330109"/>
                      <a:pt x="4144889" y="1315454"/>
                      <a:pt x="4118596" y="1323668"/>
                    </a:cubicBezTo>
                    <a:cubicBezTo>
                      <a:pt x="4111209" y="1325976"/>
                      <a:pt x="4104459" y="1329972"/>
                      <a:pt x="4098883" y="1335339"/>
                    </a:cubicBezTo>
                    <a:lnTo>
                      <a:pt x="3898297" y="1158527"/>
                    </a:lnTo>
                    <a:cubicBezTo>
                      <a:pt x="3908855" y="1143502"/>
                      <a:pt x="3905233" y="1122762"/>
                      <a:pt x="3890208" y="1112204"/>
                    </a:cubicBezTo>
                    <a:cubicBezTo>
                      <a:pt x="3875182" y="1101646"/>
                      <a:pt x="3854443" y="1105268"/>
                      <a:pt x="3843885" y="1120293"/>
                    </a:cubicBezTo>
                    <a:cubicBezTo>
                      <a:pt x="3838694" y="1127681"/>
                      <a:pt x="3836731" y="1136861"/>
                      <a:pt x="3838445" y="1145726"/>
                    </a:cubicBezTo>
                    <a:lnTo>
                      <a:pt x="3579005" y="1233009"/>
                    </a:lnTo>
                    <a:cubicBezTo>
                      <a:pt x="3568964" y="1211098"/>
                      <a:pt x="3543061" y="1201475"/>
                      <a:pt x="3521150" y="1211516"/>
                    </a:cubicBezTo>
                    <a:cubicBezTo>
                      <a:pt x="3499238" y="1221557"/>
                      <a:pt x="3489615" y="1247460"/>
                      <a:pt x="3499656" y="1269371"/>
                    </a:cubicBezTo>
                    <a:cubicBezTo>
                      <a:pt x="3504415" y="1279757"/>
                      <a:pt x="3513057" y="1287862"/>
                      <a:pt x="3523725" y="1291947"/>
                    </a:cubicBezTo>
                    <a:lnTo>
                      <a:pt x="3471771" y="1549641"/>
                    </a:lnTo>
                    <a:cubicBezTo>
                      <a:pt x="3444337" y="1547158"/>
                      <a:pt x="3420085" y="1567384"/>
                      <a:pt x="3417601" y="1594818"/>
                    </a:cubicBezTo>
                    <a:cubicBezTo>
                      <a:pt x="3417004" y="1601421"/>
                      <a:pt x="3417728" y="1608077"/>
                      <a:pt x="3419733" y="1614397"/>
                    </a:cubicBezTo>
                    <a:cubicBezTo>
                      <a:pt x="3428096" y="1640643"/>
                      <a:pt x="3456152" y="1655140"/>
                      <a:pt x="3482398" y="1646778"/>
                    </a:cubicBezTo>
                    <a:cubicBezTo>
                      <a:pt x="3489803" y="1644418"/>
                      <a:pt x="3496554" y="1640361"/>
                      <a:pt x="3502113" y="1634930"/>
                    </a:cubicBezTo>
                    <a:lnTo>
                      <a:pt x="3699290" y="1808749"/>
                    </a:lnTo>
                    <a:cubicBezTo>
                      <a:pt x="3685413" y="1824911"/>
                      <a:pt x="3687266" y="1849262"/>
                      <a:pt x="3703428" y="1863139"/>
                    </a:cubicBezTo>
                    <a:cubicBezTo>
                      <a:pt x="3707858" y="1866943"/>
                      <a:pt x="3713095" y="1869692"/>
                      <a:pt x="3718742" y="1871177"/>
                    </a:cubicBezTo>
                    <a:lnTo>
                      <a:pt x="3666039" y="2132530"/>
                    </a:lnTo>
                    <a:cubicBezTo>
                      <a:pt x="3642044" y="2129813"/>
                      <a:pt x="3620390" y="2147063"/>
                      <a:pt x="3617673" y="2171058"/>
                    </a:cubicBezTo>
                    <a:cubicBezTo>
                      <a:pt x="3614957" y="2195054"/>
                      <a:pt x="3632206" y="2216708"/>
                      <a:pt x="3656202" y="2219424"/>
                    </a:cubicBezTo>
                    <a:cubicBezTo>
                      <a:pt x="3662309" y="2220116"/>
                      <a:pt x="3668494" y="2219512"/>
                      <a:pt x="3674352" y="2217652"/>
                    </a:cubicBezTo>
                    <a:cubicBezTo>
                      <a:pt x="3680553" y="2215699"/>
                      <a:pt x="3686236" y="2212375"/>
                      <a:pt x="3690977" y="2207926"/>
                    </a:cubicBezTo>
                    <a:lnTo>
                      <a:pt x="3897964" y="2390390"/>
                    </a:lnTo>
                    <a:cubicBezTo>
                      <a:pt x="3892211" y="2398785"/>
                      <a:pt x="3890618" y="2409352"/>
                      <a:pt x="3893642" y="2419069"/>
                    </a:cubicBezTo>
                    <a:cubicBezTo>
                      <a:pt x="3899556" y="2436455"/>
                      <a:pt x="3918445" y="2445754"/>
                      <a:pt x="3935830" y="2439839"/>
                    </a:cubicBezTo>
                    <a:cubicBezTo>
                      <a:pt x="3950898" y="2434712"/>
                      <a:pt x="3960221" y="2419627"/>
                      <a:pt x="3958065" y="2403857"/>
                    </a:cubicBezTo>
                    <a:lnTo>
                      <a:pt x="4226816" y="2313248"/>
                    </a:lnTo>
                    <a:cubicBezTo>
                      <a:pt x="4235036" y="2330747"/>
                      <a:pt x="4254920" y="2339482"/>
                      <a:pt x="4273367" y="2333698"/>
                    </a:cubicBezTo>
                    <a:cubicBezTo>
                      <a:pt x="4278281" y="2332158"/>
                      <a:pt x="4282833" y="2329641"/>
                      <a:pt x="4286751" y="2326299"/>
                    </a:cubicBezTo>
                    <a:lnTo>
                      <a:pt x="4492823" y="2507933"/>
                    </a:lnTo>
                    <a:cubicBezTo>
                      <a:pt x="4481076" y="2525758"/>
                      <a:pt x="4486003" y="2549731"/>
                      <a:pt x="4503828" y="2561479"/>
                    </a:cubicBezTo>
                    <a:cubicBezTo>
                      <a:pt x="4521653" y="2573226"/>
                      <a:pt x="4545627" y="2568299"/>
                      <a:pt x="4557374" y="2550474"/>
                    </a:cubicBezTo>
                    <a:cubicBezTo>
                      <a:pt x="4562826" y="2542201"/>
                      <a:pt x="4564894" y="2532150"/>
                      <a:pt x="4563149" y="2522397"/>
                    </a:cubicBezTo>
                    <a:lnTo>
                      <a:pt x="4830403" y="2432453"/>
                    </a:lnTo>
                    <a:cubicBezTo>
                      <a:pt x="4838739" y="2448816"/>
                      <a:pt x="4858762" y="2455322"/>
                      <a:pt x="4875125" y="2446986"/>
                    </a:cubicBezTo>
                    <a:cubicBezTo>
                      <a:pt x="4877128" y="2445966"/>
                      <a:pt x="4879022" y="2444745"/>
                      <a:pt x="4880778" y="2443342"/>
                    </a:cubicBezTo>
                    <a:lnTo>
                      <a:pt x="5089261" y="2627885"/>
                    </a:lnTo>
                    <a:cubicBezTo>
                      <a:pt x="5074940" y="2647100"/>
                      <a:pt x="5078907" y="2674286"/>
                      <a:pt x="5098122" y="2688608"/>
                    </a:cubicBezTo>
                    <a:cubicBezTo>
                      <a:pt x="5101886" y="2691414"/>
                      <a:pt x="5106080" y="2693590"/>
                      <a:pt x="5110542" y="2695052"/>
                    </a:cubicBezTo>
                    <a:lnTo>
                      <a:pt x="5058089" y="2956903"/>
                    </a:lnTo>
                    <a:cubicBezTo>
                      <a:pt x="5053507" y="2956592"/>
                      <a:pt x="5048909" y="2957156"/>
                      <a:pt x="5044539" y="2958566"/>
                    </a:cubicBezTo>
                    <a:cubicBezTo>
                      <a:pt x="5025005" y="2964795"/>
                      <a:pt x="5013709" y="2985165"/>
                      <a:pt x="5018769" y="3005034"/>
                    </a:cubicBezTo>
                    <a:lnTo>
                      <a:pt x="4748855" y="3095808"/>
                    </a:lnTo>
                    <a:cubicBezTo>
                      <a:pt x="4742143" y="3081960"/>
                      <a:pt x="4726289" y="3075130"/>
                      <a:pt x="4711614" y="3079765"/>
                    </a:cubicBezTo>
                    <a:cubicBezTo>
                      <a:pt x="4707601" y="3080967"/>
                      <a:pt x="4703890" y="3083007"/>
                      <a:pt x="4700724" y="3085750"/>
                    </a:cubicBezTo>
                    <a:lnTo>
                      <a:pt x="4487919" y="2898049"/>
                    </a:lnTo>
                    <a:cubicBezTo>
                      <a:pt x="4500101" y="2880518"/>
                      <a:pt x="4495764" y="2856430"/>
                      <a:pt x="4478233" y="2844248"/>
                    </a:cubicBezTo>
                    <a:cubicBezTo>
                      <a:pt x="4460702" y="2832066"/>
                      <a:pt x="4436615" y="2836402"/>
                      <a:pt x="4424433" y="2853934"/>
                    </a:cubicBezTo>
                    <a:cubicBezTo>
                      <a:pt x="4418214" y="2862884"/>
                      <a:pt x="4416062" y="2874044"/>
                      <a:pt x="4418507" y="2884665"/>
                    </a:cubicBezTo>
                    <a:lnTo>
                      <a:pt x="4151419" y="2974609"/>
                    </a:lnTo>
                    <a:cubicBezTo>
                      <a:pt x="4143533" y="2959306"/>
                      <a:pt x="4124733" y="2953293"/>
                      <a:pt x="4109429" y="2961180"/>
                    </a:cubicBezTo>
                    <a:cubicBezTo>
                      <a:pt x="4094126" y="2969067"/>
                      <a:pt x="4088114" y="2987866"/>
                      <a:pt x="4096000" y="3003170"/>
                    </a:cubicBezTo>
                    <a:cubicBezTo>
                      <a:pt x="4099475" y="3009911"/>
                      <a:pt x="4105287" y="3015154"/>
                      <a:pt x="4112349" y="3017919"/>
                    </a:cubicBezTo>
                    <a:lnTo>
                      <a:pt x="4054161" y="3304957"/>
                    </a:lnTo>
                    <a:cubicBezTo>
                      <a:pt x="4051146" y="3304956"/>
                      <a:pt x="4048148" y="3305404"/>
                      <a:pt x="4045266" y="3306287"/>
                    </a:cubicBezTo>
                    <a:cubicBezTo>
                      <a:pt x="4031076" y="3310804"/>
                      <a:pt x="4022082" y="3324748"/>
                      <a:pt x="4023819" y="3339538"/>
                    </a:cubicBezTo>
                    <a:lnTo>
                      <a:pt x="3757812" y="3428983"/>
                    </a:lnTo>
                    <a:cubicBezTo>
                      <a:pt x="3746251" y="3407729"/>
                      <a:pt x="3719649" y="3399871"/>
                      <a:pt x="3698396" y="3411432"/>
                    </a:cubicBezTo>
                    <a:cubicBezTo>
                      <a:pt x="3677142" y="3422993"/>
                      <a:pt x="3669284" y="3449594"/>
                      <a:pt x="3680845" y="3470848"/>
                    </a:cubicBezTo>
                    <a:cubicBezTo>
                      <a:pt x="3685908" y="3480156"/>
                      <a:pt x="3694174" y="3487315"/>
                      <a:pt x="3704111" y="3490995"/>
                    </a:cubicBezTo>
                    <a:lnTo>
                      <a:pt x="3652490" y="3747028"/>
                    </a:lnTo>
                    <a:cubicBezTo>
                      <a:pt x="3628490" y="3744795"/>
                      <a:pt x="3607225" y="3762439"/>
                      <a:pt x="3604992" y="3786438"/>
                    </a:cubicBezTo>
                    <a:cubicBezTo>
                      <a:pt x="3604496" y="3791772"/>
                      <a:pt x="3604986" y="3797151"/>
                      <a:pt x="3606437" y="3802307"/>
                    </a:cubicBezTo>
                    <a:lnTo>
                      <a:pt x="3343422" y="3891420"/>
                    </a:lnTo>
                    <a:cubicBezTo>
                      <a:pt x="3335647" y="3877781"/>
                      <a:pt x="3319393" y="3871439"/>
                      <a:pt x="3304436" y="3876207"/>
                    </a:cubicBezTo>
                    <a:cubicBezTo>
                      <a:pt x="3300651" y="3877390"/>
                      <a:pt x="3297125" y="3879280"/>
                      <a:pt x="3294045" y="3881777"/>
                    </a:cubicBezTo>
                    <a:lnTo>
                      <a:pt x="3092212" y="3703801"/>
                    </a:lnTo>
                    <a:cubicBezTo>
                      <a:pt x="3108135" y="3681324"/>
                      <a:pt x="3102823" y="3650194"/>
                      <a:pt x="3080346" y="3634271"/>
                    </a:cubicBezTo>
                    <a:cubicBezTo>
                      <a:pt x="3057869" y="3618347"/>
                      <a:pt x="3026739" y="3623659"/>
                      <a:pt x="3010815" y="3646136"/>
                    </a:cubicBezTo>
                    <a:cubicBezTo>
                      <a:pt x="3003068" y="3657071"/>
                      <a:pt x="3000048" y="3670664"/>
                      <a:pt x="3002434" y="3683851"/>
                    </a:cubicBezTo>
                    <a:lnTo>
                      <a:pt x="2757126" y="3766479"/>
                    </a:lnTo>
                    <a:cubicBezTo>
                      <a:pt x="2746038" y="3745026"/>
                      <a:pt x="2719659" y="3736623"/>
                      <a:pt x="2698206" y="3747711"/>
                    </a:cubicBezTo>
                    <a:cubicBezTo>
                      <a:pt x="2676754" y="3758798"/>
                      <a:pt x="2668350" y="3785177"/>
                      <a:pt x="2679438" y="3806630"/>
                    </a:cubicBezTo>
                    <a:cubicBezTo>
                      <a:pt x="2684412" y="3816255"/>
                      <a:pt x="2692782" y="3823690"/>
                      <a:pt x="2702927" y="3827495"/>
                    </a:cubicBezTo>
                    <a:lnTo>
                      <a:pt x="2648146" y="4099238"/>
                    </a:lnTo>
                    <a:cubicBezTo>
                      <a:pt x="2644107" y="4098856"/>
                      <a:pt x="2640032" y="4099309"/>
                      <a:pt x="2636175" y="4100568"/>
                    </a:cubicBezTo>
                    <a:cubicBezTo>
                      <a:pt x="2620980" y="4105357"/>
                      <a:pt x="2611887" y="4120883"/>
                      <a:pt x="2615144" y="4136479"/>
                    </a:cubicBezTo>
                    <a:lnTo>
                      <a:pt x="2349137" y="4226007"/>
                    </a:lnTo>
                    <a:cubicBezTo>
                      <a:pt x="2339941" y="4206030"/>
                      <a:pt x="2317338" y="4195993"/>
                      <a:pt x="2296351" y="4202565"/>
                    </a:cubicBezTo>
                    <a:cubicBezTo>
                      <a:pt x="2290100" y="4204656"/>
                      <a:pt x="2284412" y="4208154"/>
                      <a:pt x="2279726" y="4212790"/>
                    </a:cubicBezTo>
                    <a:lnTo>
                      <a:pt x="2080719" y="4038555"/>
                    </a:lnTo>
                    <a:cubicBezTo>
                      <a:pt x="2095391" y="4019375"/>
                      <a:pt x="2091737" y="3991932"/>
                      <a:pt x="2072557" y="3977260"/>
                    </a:cubicBezTo>
                    <a:cubicBezTo>
                      <a:pt x="2053377" y="3962587"/>
                      <a:pt x="2025934" y="3966241"/>
                      <a:pt x="2011262" y="3985421"/>
                    </a:cubicBezTo>
                    <a:cubicBezTo>
                      <a:pt x="2003319" y="3995805"/>
                      <a:pt x="2000438" y="4009198"/>
                      <a:pt x="2003411" y="4021930"/>
                    </a:cubicBezTo>
                    <a:lnTo>
                      <a:pt x="1739482" y="4111457"/>
                    </a:lnTo>
                    <a:cubicBezTo>
                      <a:pt x="1732094" y="4096110"/>
                      <a:pt x="1713664" y="4089658"/>
                      <a:pt x="1698317" y="4097045"/>
                    </a:cubicBezTo>
                    <a:cubicBezTo>
                      <a:pt x="1695318" y="4098488"/>
                      <a:pt x="1692573" y="4100408"/>
                      <a:pt x="1690187" y="4102729"/>
                    </a:cubicBezTo>
                    <a:lnTo>
                      <a:pt x="1486027" y="3924005"/>
                    </a:lnTo>
                    <a:cubicBezTo>
                      <a:pt x="1502521" y="3901944"/>
                      <a:pt x="1498009" y="3870688"/>
                      <a:pt x="1475948" y="3854193"/>
                    </a:cubicBezTo>
                    <a:cubicBezTo>
                      <a:pt x="1471108" y="3850575"/>
                      <a:pt x="1465650" y="3847866"/>
                      <a:pt x="1459841" y="3846198"/>
                    </a:cubicBezTo>
                    <a:lnTo>
                      <a:pt x="1512710" y="3579027"/>
                    </a:lnTo>
                    <a:cubicBezTo>
                      <a:pt x="1516114" y="3579160"/>
                      <a:pt x="1519516" y="3578710"/>
                      <a:pt x="1522769" y="3577697"/>
                    </a:cubicBezTo>
                    <a:cubicBezTo>
                      <a:pt x="1539084" y="3572201"/>
                      <a:pt x="1547854" y="3554519"/>
                      <a:pt x="1542358" y="3538204"/>
                    </a:cubicBezTo>
                    <a:cubicBezTo>
                      <a:pt x="1537007" y="3522321"/>
                      <a:pt x="1520055" y="3513512"/>
                      <a:pt x="1503982" y="3518262"/>
                    </a:cubicBezTo>
                    <a:cubicBezTo>
                      <a:pt x="1499969" y="3519464"/>
                      <a:pt x="1496258" y="3521504"/>
                      <a:pt x="1493092" y="3524247"/>
                    </a:cubicBezTo>
                    <a:lnTo>
                      <a:pt x="1276961" y="3334717"/>
                    </a:lnTo>
                    <a:cubicBezTo>
                      <a:pt x="1282879" y="3326300"/>
                      <a:pt x="1284567" y="3315619"/>
                      <a:pt x="1281533" y="3305788"/>
                    </a:cubicBezTo>
                    <a:cubicBezTo>
                      <a:pt x="1275286" y="3288520"/>
                      <a:pt x="1256222" y="3279586"/>
                      <a:pt x="1238954" y="3285833"/>
                    </a:cubicBezTo>
                    <a:cubicBezTo>
                      <a:pt x="1223923" y="3291271"/>
                      <a:pt x="1214888" y="3306635"/>
                      <a:pt x="1217442" y="3322414"/>
                    </a:cubicBezTo>
                    <a:lnTo>
                      <a:pt x="955093" y="3411942"/>
                    </a:lnTo>
                    <a:cubicBezTo>
                      <a:pt x="945326" y="3393071"/>
                      <a:pt x="923407" y="3383952"/>
                      <a:pt x="903138" y="3390329"/>
                    </a:cubicBezTo>
                    <a:cubicBezTo>
                      <a:pt x="880092" y="3397684"/>
                      <a:pt x="867315" y="3422273"/>
                      <a:pt x="874542" y="3445359"/>
                    </a:cubicBezTo>
                    <a:cubicBezTo>
                      <a:pt x="878758" y="3458605"/>
                      <a:pt x="889042" y="3469044"/>
                      <a:pt x="902224" y="3473456"/>
                    </a:cubicBezTo>
                    <a:lnTo>
                      <a:pt x="848523" y="3745116"/>
                    </a:lnTo>
                    <a:cubicBezTo>
                      <a:pt x="844874" y="3744988"/>
                      <a:pt x="841227" y="3745438"/>
                      <a:pt x="837717" y="3746446"/>
                    </a:cubicBezTo>
                    <a:cubicBezTo>
                      <a:pt x="821333" y="3751691"/>
                      <a:pt x="812268" y="3769189"/>
                      <a:pt x="817434" y="3785599"/>
                    </a:cubicBezTo>
                    <a:cubicBezTo>
                      <a:pt x="822644" y="3802016"/>
                      <a:pt x="840154" y="3811123"/>
                      <a:pt x="856587" y="3805965"/>
                    </a:cubicBezTo>
                    <a:cubicBezTo>
                      <a:pt x="860595" y="3804671"/>
                      <a:pt x="864299" y="3802579"/>
                      <a:pt x="867476" y="3799814"/>
                    </a:cubicBezTo>
                    <a:lnTo>
                      <a:pt x="1075295" y="3981530"/>
                    </a:lnTo>
                    <a:cubicBezTo>
                      <a:pt x="1061430" y="4001134"/>
                      <a:pt x="1066083" y="4028265"/>
                      <a:pt x="1085686" y="4042129"/>
                    </a:cubicBezTo>
                    <a:cubicBezTo>
                      <a:pt x="1089868" y="4045086"/>
                      <a:pt x="1094539" y="4047282"/>
                      <a:pt x="1099485" y="4048614"/>
                    </a:cubicBezTo>
                    <a:lnTo>
                      <a:pt x="1047696" y="4309883"/>
                    </a:lnTo>
                    <a:cubicBezTo>
                      <a:pt x="1042330" y="4309486"/>
                      <a:pt x="1036938" y="4310135"/>
                      <a:pt x="1031819" y="4311794"/>
                    </a:cubicBezTo>
                    <a:cubicBezTo>
                      <a:pt x="1010164" y="4318629"/>
                      <a:pt x="997392" y="4340952"/>
                      <a:pt x="1002475" y="4363084"/>
                    </a:cubicBezTo>
                    <a:lnTo>
                      <a:pt x="748106" y="4449786"/>
                    </a:lnTo>
                    <a:cubicBezTo>
                      <a:pt x="739080" y="4429583"/>
                      <a:pt x="716340" y="4419357"/>
                      <a:pt x="695237" y="4426011"/>
                    </a:cubicBezTo>
                    <a:cubicBezTo>
                      <a:pt x="689042" y="4427937"/>
                      <a:pt x="683359" y="4431233"/>
                      <a:pt x="678611" y="4435654"/>
                    </a:cubicBezTo>
                    <a:lnTo>
                      <a:pt x="473869" y="4256431"/>
                    </a:lnTo>
                    <a:cubicBezTo>
                      <a:pt x="479633" y="4247318"/>
                      <a:pt x="481093" y="4236128"/>
                      <a:pt x="477859" y="4225841"/>
                    </a:cubicBezTo>
                    <a:cubicBezTo>
                      <a:pt x="471793" y="4206476"/>
                      <a:pt x="451177" y="4195696"/>
                      <a:pt x="431813" y="4201762"/>
                    </a:cubicBezTo>
                    <a:cubicBezTo>
                      <a:pt x="431755" y="4201781"/>
                      <a:pt x="431698" y="4201799"/>
                      <a:pt x="431640" y="4201817"/>
                    </a:cubicBezTo>
                    <a:cubicBezTo>
                      <a:pt x="413712" y="4207445"/>
                      <a:pt x="402942" y="4225718"/>
                      <a:pt x="406702" y="4244129"/>
                    </a:cubicBezTo>
                    <a:lnTo>
                      <a:pt x="138201" y="4335569"/>
                    </a:lnTo>
                    <a:cubicBezTo>
                      <a:pt x="130925" y="4322751"/>
                      <a:pt x="115683" y="4316758"/>
                      <a:pt x="101625" y="4321188"/>
                    </a:cubicBezTo>
                    <a:cubicBezTo>
                      <a:pt x="85215" y="4326394"/>
                      <a:pt x="76132" y="4343917"/>
                      <a:pt x="81338" y="4360327"/>
                    </a:cubicBezTo>
                    <a:cubicBezTo>
                      <a:pt x="81339" y="4360332"/>
                      <a:pt x="81340" y="4360336"/>
                      <a:pt x="81342" y="4360340"/>
                    </a:cubicBezTo>
                    <a:cubicBezTo>
                      <a:pt x="84205" y="4369318"/>
                      <a:pt x="90996" y="4376506"/>
                      <a:pt x="99796" y="4379875"/>
                    </a:cubicBezTo>
                    <a:lnTo>
                      <a:pt x="45846" y="4652616"/>
                    </a:lnTo>
                    <a:cubicBezTo>
                      <a:pt x="40707" y="4652319"/>
                      <a:pt x="35556" y="4652938"/>
                      <a:pt x="30634" y="4654445"/>
                    </a:cubicBezTo>
                    <a:cubicBezTo>
                      <a:pt x="7568" y="4661725"/>
                      <a:pt x="-5234" y="4686323"/>
                      <a:pt x="2038" y="4709392"/>
                    </a:cubicBezTo>
                    <a:cubicBezTo>
                      <a:pt x="9267" y="4732481"/>
                      <a:pt x="33845" y="4745338"/>
                      <a:pt x="56934" y="4738109"/>
                    </a:cubicBezTo>
                    <a:cubicBezTo>
                      <a:pt x="57063" y="4738069"/>
                      <a:pt x="57190" y="4738029"/>
                      <a:pt x="57318" y="4737988"/>
                    </a:cubicBezTo>
                    <a:close/>
                    <a:moveTo>
                      <a:pt x="1244292" y="4888947"/>
                    </a:moveTo>
                    <a:cubicBezTo>
                      <a:pt x="1220613" y="4885572"/>
                      <a:pt x="1198680" y="4902032"/>
                      <a:pt x="1195305" y="4925711"/>
                    </a:cubicBezTo>
                    <a:cubicBezTo>
                      <a:pt x="1194516" y="4931249"/>
                      <a:pt x="1194807" y="4936887"/>
                      <a:pt x="1196162" y="4942315"/>
                    </a:cubicBezTo>
                    <a:lnTo>
                      <a:pt x="938467" y="5029931"/>
                    </a:lnTo>
                    <a:cubicBezTo>
                      <a:pt x="930586" y="5014530"/>
                      <a:pt x="912730" y="5007078"/>
                      <a:pt x="896238" y="5012308"/>
                    </a:cubicBezTo>
                    <a:cubicBezTo>
                      <a:pt x="891097" y="5013955"/>
                      <a:pt x="886424" y="5016804"/>
                      <a:pt x="882606" y="5020621"/>
                    </a:cubicBezTo>
                    <a:lnTo>
                      <a:pt x="675868" y="4839071"/>
                    </a:lnTo>
                    <a:cubicBezTo>
                      <a:pt x="684089" y="4827839"/>
                      <a:pt x="686495" y="4813372"/>
                      <a:pt x="682352" y="4800084"/>
                    </a:cubicBezTo>
                    <a:cubicBezTo>
                      <a:pt x="678042" y="4786578"/>
                      <a:pt x="667441" y="4776008"/>
                      <a:pt x="653923" y="4771738"/>
                    </a:cubicBezTo>
                    <a:lnTo>
                      <a:pt x="705461" y="4511383"/>
                    </a:lnTo>
                    <a:cubicBezTo>
                      <a:pt x="711070" y="4511906"/>
                      <a:pt x="716726" y="4511284"/>
                      <a:pt x="722087" y="4509555"/>
                    </a:cubicBezTo>
                    <a:cubicBezTo>
                      <a:pt x="743934" y="4502570"/>
                      <a:pt x="756671" y="4479890"/>
                      <a:pt x="751265" y="4457600"/>
                    </a:cubicBezTo>
                    <a:lnTo>
                      <a:pt x="1005468" y="4370981"/>
                    </a:lnTo>
                    <a:cubicBezTo>
                      <a:pt x="1014323" y="4391505"/>
                      <a:pt x="1037255" y="4402020"/>
                      <a:pt x="1058586" y="4395337"/>
                    </a:cubicBezTo>
                    <a:cubicBezTo>
                      <a:pt x="1064391" y="4393471"/>
                      <a:pt x="1069742" y="4390413"/>
                      <a:pt x="1074297" y="4386359"/>
                    </a:cubicBezTo>
                    <a:lnTo>
                      <a:pt x="1270228" y="4557851"/>
                    </a:lnTo>
                    <a:lnTo>
                      <a:pt x="1279040" y="4565582"/>
                    </a:lnTo>
                    <a:cubicBezTo>
                      <a:pt x="1267393" y="4582030"/>
                      <a:pt x="1271285" y="4604806"/>
                      <a:pt x="1287734" y="4616453"/>
                    </a:cubicBezTo>
                    <a:cubicBezTo>
                      <a:pt x="1290723" y="4618569"/>
                      <a:pt x="1294013" y="4620223"/>
                      <a:pt x="1297494" y="4621360"/>
                    </a:cubicBezTo>
                    <a:close/>
                    <a:moveTo>
                      <a:pt x="2272577" y="4611385"/>
                    </a:moveTo>
                    <a:cubicBezTo>
                      <a:pt x="2283950" y="4594690"/>
                      <a:pt x="2279636" y="4571937"/>
                      <a:pt x="2262942" y="4560564"/>
                    </a:cubicBezTo>
                    <a:cubicBezTo>
                      <a:pt x="2259779" y="4558410"/>
                      <a:pt x="2256299" y="4556765"/>
                      <a:pt x="2252626" y="4555690"/>
                    </a:cubicBezTo>
                    <a:lnTo>
                      <a:pt x="2306576" y="4287604"/>
                    </a:lnTo>
                    <a:cubicBezTo>
                      <a:pt x="2312184" y="4288104"/>
                      <a:pt x="2317836" y="4287483"/>
                      <a:pt x="2323201" y="4285776"/>
                    </a:cubicBezTo>
                    <a:cubicBezTo>
                      <a:pt x="2345230" y="4278819"/>
                      <a:pt x="2357997" y="4255875"/>
                      <a:pt x="2352296" y="4233489"/>
                    </a:cubicBezTo>
                    <a:lnTo>
                      <a:pt x="2618303" y="4144044"/>
                    </a:lnTo>
                    <a:cubicBezTo>
                      <a:pt x="2625227" y="4157611"/>
                      <a:pt x="2640922" y="4164212"/>
                      <a:pt x="2655461" y="4159672"/>
                    </a:cubicBezTo>
                    <a:cubicBezTo>
                      <a:pt x="2659315" y="4158473"/>
                      <a:pt x="2662881" y="4156492"/>
                      <a:pt x="2665935" y="4153853"/>
                    </a:cubicBezTo>
                    <a:lnTo>
                      <a:pt x="2873753" y="4337315"/>
                    </a:lnTo>
                    <a:cubicBezTo>
                      <a:pt x="2860410" y="4357387"/>
                      <a:pt x="2865864" y="4384476"/>
                      <a:pt x="2885936" y="4397819"/>
                    </a:cubicBezTo>
                    <a:cubicBezTo>
                      <a:pt x="2889559" y="4400228"/>
                      <a:pt x="2893522" y="4402081"/>
                      <a:pt x="2897694" y="4403318"/>
                    </a:cubicBezTo>
                    <a:lnTo>
                      <a:pt x="2843578" y="4671902"/>
                    </a:lnTo>
                    <a:cubicBezTo>
                      <a:pt x="2838925" y="4671541"/>
                      <a:pt x="2834246" y="4672048"/>
                      <a:pt x="2829779" y="4673398"/>
                    </a:cubicBezTo>
                    <a:cubicBezTo>
                      <a:pt x="2811610" y="4679077"/>
                      <a:pt x="2800787" y="4697692"/>
                      <a:pt x="2804841" y="4716292"/>
                    </a:cubicBezTo>
                    <a:lnTo>
                      <a:pt x="2533264" y="4807732"/>
                    </a:lnTo>
                    <a:cubicBezTo>
                      <a:pt x="2524445" y="4793160"/>
                      <a:pt x="2505483" y="4788497"/>
                      <a:pt x="2490911" y="4797315"/>
                    </a:cubicBezTo>
                    <a:cubicBezTo>
                      <a:pt x="2489553" y="4798137"/>
                      <a:pt x="2488261" y="4799063"/>
                      <a:pt x="2487045" y="4800083"/>
                    </a:cubicBezTo>
                    <a:close/>
                    <a:moveTo>
                      <a:pt x="3207011" y="4268485"/>
                    </a:moveTo>
                    <a:cubicBezTo>
                      <a:pt x="3216631" y="4290484"/>
                      <a:pt x="3242264" y="4300519"/>
                      <a:pt x="3264264" y="4290898"/>
                    </a:cubicBezTo>
                    <a:cubicBezTo>
                      <a:pt x="3268187" y="4289182"/>
                      <a:pt x="3271836" y="4286895"/>
                      <a:pt x="3275092" y="4284113"/>
                    </a:cubicBezTo>
                    <a:lnTo>
                      <a:pt x="3478670" y="4462920"/>
                    </a:lnTo>
                    <a:cubicBezTo>
                      <a:pt x="3467055" y="4479390"/>
                      <a:pt x="3470991" y="4502159"/>
                      <a:pt x="3487462" y="4513774"/>
                    </a:cubicBezTo>
                    <a:cubicBezTo>
                      <a:pt x="3490639" y="4516015"/>
                      <a:pt x="3494153" y="4517733"/>
                      <a:pt x="3497873" y="4518865"/>
                    </a:cubicBezTo>
                    <a:lnTo>
                      <a:pt x="3443757" y="4787448"/>
                    </a:lnTo>
                    <a:cubicBezTo>
                      <a:pt x="3438704" y="4787114"/>
                      <a:pt x="3433634" y="4787706"/>
                      <a:pt x="3428794" y="4789194"/>
                    </a:cubicBezTo>
                    <a:cubicBezTo>
                      <a:pt x="3407712" y="4795914"/>
                      <a:pt x="3394995" y="4817347"/>
                      <a:pt x="3399201" y="4839071"/>
                    </a:cubicBezTo>
                    <a:lnTo>
                      <a:pt x="3135272" y="4927851"/>
                    </a:lnTo>
                    <a:cubicBezTo>
                      <a:pt x="3128348" y="4914283"/>
                      <a:pt x="3112653" y="4907682"/>
                      <a:pt x="3098114" y="4912223"/>
                    </a:cubicBezTo>
                    <a:cubicBezTo>
                      <a:pt x="3093947" y="4913546"/>
                      <a:pt x="3090118" y="4915758"/>
                      <a:pt x="3086892" y="4918707"/>
                    </a:cubicBezTo>
                    <a:lnTo>
                      <a:pt x="2871343" y="4728761"/>
                    </a:lnTo>
                    <a:cubicBezTo>
                      <a:pt x="2882773" y="4712050"/>
                      <a:pt x="2878493" y="4689237"/>
                      <a:pt x="2861782" y="4677806"/>
                    </a:cubicBezTo>
                    <a:cubicBezTo>
                      <a:pt x="2858695" y="4675694"/>
                      <a:pt x="2855303" y="4674068"/>
                      <a:pt x="2851725" y="4672983"/>
                    </a:cubicBezTo>
                    <a:lnTo>
                      <a:pt x="2905924" y="4404481"/>
                    </a:lnTo>
                    <a:cubicBezTo>
                      <a:pt x="2929863" y="4406850"/>
                      <a:pt x="2951191" y="4389363"/>
                      <a:pt x="2953560" y="4365423"/>
                    </a:cubicBezTo>
                    <a:cubicBezTo>
                      <a:pt x="2953961" y="4361370"/>
                      <a:pt x="2953792" y="4357281"/>
                      <a:pt x="2953057" y="4353274"/>
                    </a:cubicBezTo>
                    <a:close/>
                    <a:moveTo>
                      <a:pt x="2467178" y="5188039"/>
                    </a:moveTo>
                    <a:cubicBezTo>
                      <a:pt x="2479335" y="5171849"/>
                      <a:pt x="2476065" y="5148869"/>
                      <a:pt x="2459875" y="5136712"/>
                    </a:cubicBezTo>
                    <a:cubicBezTo>
                      <a:pt x="2456512" y="5134187"/>
                      <a:pt x="2452740" y="5132259"/>
                      <a:pt x="2448724" y="5131014"/>
                    </a:cubicBezTo>
                    <a:lnTo>
                      <a:pt x="2504252" y="4855447"/>
                    </a:lnTo>
                    <a:cubicBezTo>
                      <a:pt x="2508258" y="4855812"/>
                      <a:pt x="2512297" y="4855389"/>
                      <a:pt x="2516140" y="4854199"/>
                    </a:cubicBezTo>
                    <a:cubicBezTo>
                      <a:pt x="2532089" y="4849166"/>
                      <a:pt x="2541198" y="4832417"/>
                      <a:pt x="2536755" y="4816293"/>
                    </a:cubicBezTo>
                    <a:lnTo>
                      <a:pt x="2807584" y="4724854"/>
                    </a:lnTo>
                    <a:cubicBezTo>
                      <a:pt x="2815558" y="4741247"/>
                      <a:pt x="2834347" y="4749314"/>
                      <a:pt x="2851725" y="4743807"/>
                    </a:cubicBezTo>
                    <a:cubicBezTo>
                      <a:pt x="2856955" y="4742142"/>
                      <a:pt x="2861733" y="4739299"/>
                      <a:pt x="2865690" y="4735494"/>
                    </a:cubicBezTo>
                    <a:lnTo>
                      <a:pt x="3081156" y="4925440"/>
                    </a:lnTo>
                    <a:cubicBezTo>
                      <a:pt x="3071769" y="4939653"/>
                      <a:pt x="3075682" y="4958784"/>
                      <a:pt x="3089895" y="4968170"/>
                    </a:cubicBezTo>
                    <a:cubicBezTo>
                      <a:pt x="3091644" y="4969325"/>
                      <a:pt x="3093507" y="4970300"/>
                      <a:pt x="3095454" y="4971077"/>
                    </a:cubicBezTo>
                    <a:lnTo>
                      <a:pt x="3038595" y="5252961"/>
                    </a:lnTo>
                    <a:cubicBezTo>
                      <a:pt x="3034047" y="5252668"/>
                      <a:pt x="3029484" y="5253204"/>
                      <a:pt x="3025128" y="5254541"/>
                    </a:cubicBezTo>
                    <a:cubicBezTo>
                      <a:pt x="3007944" y="5260156"/>
                      <a:pt x="2997377" y="5277415"/>
                      <a:pt x="3000190" y="5295273"/>
                    </a:cubicBezTo>
                    <a:lnTo>
                      <a:pt x="2742994" y="5381808"/>
                    </a:lnTo>
                    <a:cubicBezTo>
                      <a:pt x="2733785" y="5359833"/>
                      <a:pt x="2708505" y="5349483"/>
                      <a:pt x="2686529" y="5358693"/>
                    </a:cubicBezTo>
                    <a:cubicBezTo>
                      <a:pt x="2681199" y="5360926"/>
                      <a:pt x="2676373" y="5364207"/>
                      <a:pt x="2672336" y="5368342"/>
                    </a:cubicBezTo>
                    <a:close/>
                    <a:moveTo>
                      <a:pt x="3636612" y="5378068"/>
                    </a:moveTo>
                    <a:cubicBezTo>
                      <a:pt x="3633181" y="5377941"/>
                      <a:pt x="3629753" y="5378390"/>
                      <a:pt x="3626471" y="5379398"/>
                    </a:cubicBezTo>
                    <a:cubicBezTo>
                      <a:pt x="3611566" y="5384160"/>
                      <a:pt x="3602522" y="5399256"/>
                      <a:pt x="3605356" y="5414644"/>
                    </a:cubicBezTo>
                    <a:lnTo>
                      <a:pt x="3341510" y="5503424"/>
                    </a:lnTo>
                    <a:cubicBezTo>
                      <a:pt x="3332764" y="5481161"/>
                      <a:pt x="3307626" y="5470204"/>
                      <a:pt x="3285363" y="5478951"/>
                    </a:cubicBezTo>
                    <a:cubicBezTo>
                      <a:pt x="3279497" y="5481256"/>
                      <a:pt x="3274204" y="5484813"/>
                      <a:pt x="3269854" y="5489375"/>
                    </a:cubicBezTo>
                    <a:lnTo>
                      <a:pt x="3066608" y="5310236"/>
                    </a:lnTo>
                    <a:cubicBezTo>
                      <a:pt x="3077960" y="5293472"/>
                      <a:pt x="3073573" y="5270679"/>
                      <a:pt x="3056809" y="5259327"/>
                    </a:cubicBezTo>
                    <a:cubicBezTo>
                      <a:pt x="3053860" y="5257330"/>
                      <a:pt x="3050637" y="5255774"/>
                      <a:pt x="3047240" y="5254707"/>
                    </a:cubicBezTo>
                    <a:lnTo>
                      <a:pt x="3103933" y="4973571"/>
                    </a:lnTo>
                    <a:cubicBezTo>
                      <a:pt x="3108240" y="4974021"/>
                      <a:pt x="3112594" y="4973597"/>
                      <a:pt x="3116734" y="4972323"/>
                    </a:cubicBezTo>
                    <a:cubicBezTo>
                      <a:pt x="3131930" y="4967534"/>
                      <a:pt x="3141022" y="4952008"/>
                      <a:pt x="3137765" y="4936412"/>
                    </a:cubicBezTo>
                    <a:lnTo>
                      <a:pt x="3401362" y="4847383"/>
                    </a:lnTo>
                    <a:cubicBezTo>
                      <a:pt x="3410021" y="4868383"/>
                      <a:pt x="3433340" y="4879229"/>
                      <a:pt x="3454979" y="4872322"/>
                    </a:cubicBezTo>
                    <a:cubicBezTo>
                      <a:pt x="3460619" y="4870629"/>
                      <a:pt x="3465853" y="4867800"/>
                      <a:pt x="3470358" y="4864009"/>
                    </a:cubicBezTo>
                    <a:lnTo>
                      <a:pt x="3670694" y="5040239"/>
                    </a:lnTo>
                    <a:cubicBezTo>
                      <a:pt x="3656938" y="5059806"/>
                      <a:pt x="3661649" y="5086820"/>
                      <a:pt x="3681216" y="5100577"/>
                    </a:cubicBezTo>
                    <a:cubicBezTo>
                      <a:pt x="3684456" y="5102854"/>
                      <a:pt x="3687991" y="5104676"/>
                      <a:pt x="3691726" y="5105992"/>
                    </a:cubicBezTo>
                    <a:close/>
                    <a:moveTo>
                      <a:pt x="5272474" y="4824856"/>
                    </a:moveTo>
                    <a:cubicBezTo>
                      <a:pt x="5258699" y="4841105"/>
                      <a:pt x="5260705" y="4865444"/>
                      <a:pt x="5276955" y="4879219"/>
                    </a:cubicBezTo>
                    <a:cubicBezTo>
                      <a:pt x="5281282" y="4882888"/>
                      <a:pt x="5286366" y="4885556"/>
                      <a:pt x="5291843" y="4887035"/>
                    </a:cubicBezTo>
                    <a:lnTo>
                      <a:pt x="5236646" y="5161355"/>
                    </a:lnTo>
                    <a:cubicBezTo>
                      <a:pt x="5232658" y="5161085"/>
                      <a:pt x="5228654" y="5161564"/>
                      <a:pt x="5224842" y="5162768"/>
                    </a:cubicBezTo>
                    <a:cubicBezTo>
                      <a:pt x="5209249" y="5167691"/>
                      <a:pt x="5199719" y="5183408"/>
                      <a:pt x="5202564" y="5199510"/>
                    </a:cubicBezTo>
                    <a:lnTo>
                      <a:pt x="4934146" y="5289870"/>
                    </a:lnTo>
                    <a:cubicBezTo>
                      <a:pt x="4926631" y="5271218"/>
                      <a:pt x="4905419" y="5262190"/>
                      <a:pt x="4886767" y="5269705"/>
                    </a:cubicBezTo>
                    <a:cubicBezTo>
                      <a:pt x="4882221" y="5271537"/>
                      <a:pt x="4878092" y="5274268"/>
                      <a:pt x="4874627" y="5277733"/>
                    </a:cubicBezTo>
                    <a:lnTo>
                      <a:pt x="4660325" y="5088452"/>
                    </a:lnTo>
                    <a:cubicBezTo>
                      <a:pt x="4670557" y="5074836"/>
                      <a:pt x="4667814" y="5055503"/>
                      <a:pt x="4654198" y="5045270"/>
                    </a:cubicBezTo>
                    <a:cubicBezTo>
                      <a:pt x="4651925" y="5043563"/>
                      <a:pt x="4649427" y="5042177"/>
                      <a:pt x="4646775" y="5041153"/>
                    </a:cubicBezTo>
                    <a:lnTo>
                      <a:pt x="4701805" y="4768080"/>
                    </a:lnTo>
                    <a:cubicBezTo>
                      <a:pt x="4707578" y="4768673"/>
                      <a:pt x="4713412" y="4768050"/>
                      <a:pt x="4718929" y="4766252"/>
                    </a:cubicBezTo>
                    <a:cubicBezTo>
                      <a:pt x="4740011" y="4759532"/>
                      <a:pt x="4752729" y="4738099"/>
                      <a:pt x="4748523" y="4716375"/>
                    </a:cubicBezTo>
                    <a:lnTo>
                      <a:pt x="5011787" y="4627761"/>
                    </a:lnTo>
                    <a:cubicBezTo>
                      <a:pt x="5018996" y="4640707"/>
                      <a:pt x="5034322" y="4646789"/>
                      <a:pt x="5048446" y="4642309"/>
                    </a:cubicBezTo>
                    <a:cubicBezTo>
                      <a:pt x="5052325" y="4641110"/>
                      <a:pt x="5055918" y="4639129"/>
                      <a:pt x="5059003" y="4636490"/>
                    </a:cubicBezTo>
                    <a:close/>
                    <a:moveTo>
                      <a:pt x="4669469" y="4700165"/>
                    </a:moveTo>
                    <a:cubicBezTo>
                      <a:pt x="4655827" y="4720036"/>
                      <a:pt x="4660878" y="4747203"/>
                      <a:pt x="4680748" y="4760844"/>
                    </a:cubicBezTo>
                    <a:cubicBezTo>
                      <a:pt x="4684476" y="4763403"/>
                      <a:pt x="4688579" y="4765367"/>
                      <a:pt x="4692911" y="4766667"/>
                    </a:cubicBezTo>
                    <a:lnTo>
                      <a:pt x="4637963" y="5039241"/>
                    </a:lnTo>
                    <a:cubicBezTo>
                      <a:pt x="4633815" y="5038820"/>
                      <a:pt x="4629623" y="5039273"/>
                      <a:pt x="4625660" y="5040571"/>
                    </a:cubicBezTo>
                    <a:cubicBezTo>
                      <a:pt x="4609756" y="5045603"/>
                      <a:pt x="4600684" y="5062316"/>
                      <a:pt x="4605128" y="5078394"/>
                    </a:cubicBezTo>
                    <a:lnTo>
                      <a:pt x="4335629" y="5169086"/>
                    </a:lnTo>
                    <a:cubicBezTo>
                      <a:pt x="4328866" y="5150100"/>
                      <a:pt x="4307992" y="5140192"/>
                      <a:pt x="4289006" y="5146957"/>
                    </a:cubicBezTo>
                    <a:cubicBezTo>
                      <a:pt x="4283755" y="5148827"/>
                      <a:pt x="4279003" y="5151876"/>
                      <a:pt x="4275113" y="5155869"/>
                    </a:cubicBezTo>
                    <a:lnTo>
                      <a:pt x="4068874" y="4973903"/>
                    </a:lnTo>
                    <a:cubicBezTo>
                      <a:pt x="4080671" y="4957336"/>
                      <a:pt x="4076805" y="4934342"/>
                      <a:pt x="4060238" y="4922545"/>
                    </a:cubicBezTo>
                    <a:cubicBezTo>
                      <a:pt x="4056734" y="4920050"/>
                      <a:pt x="4052820" y="4918188"/>
                      <a:pt x="4048674" y="4917044"/>
                    </a:cubicBezTo>
                    <a:lnTo>
                      <a:pt x="4104785" y="4638983"/>
                    </a:lnTo>
                    <a:cubicBezTo>
                      <a:pt x="4108162" y="4639114"/>
                      <a:pt x="4111536" y="4638665"/>
                      <a:pt x="4114760" y="4637653"/>
                    </a:cubicBezTo>
                    <a:cubicBezTo>
                      <a:pt x="4130499" y="4632659"/>
                      <a:pt x="4139588" y="4616233"/>
                      <a:pt x="4135459" y="4600246"/>
                    </a:cubicBezTo>
                    <a:lnTo>
                      <a:pt x="4412190" y="4507144"/>
                    </a:lnTo>
                    <a:cubicBezTo>
                      <a:pt x="4418445" y="4522936"/>
                      <a:pt x="4436319" y="4530668"/>
                      <a:pt x="4452112" y="4524412"/>
                    </a:cubicBezTo>
                    <a:cubicBezTo>
                      <a:pt x="4456031" y="4522860"/>
                      <a:pt x="4459589" y="4520519"/>
                      <a:pt x="4462565" y="4517534"/>
                    </a:cubicBezTo>
                    <a:close/>
                    <a:moveTo>
                      <a:pt x="4081759" y="4588026"/>
                    </a:moveTo>
                    <a:cubicBezTo>
                      <a:pt x="4070638" y="4601109"/>
                      <a:pt x="4072229" y="4620729"/>
                      <a:pt x="4085311" y="4631850"/>
                    </a:cubicBezTo>
                    <a:cubicBezTo>
                      <a:pt x="4088551" y="4634604"/>
                      <a:pt x="4092321" y="4636664"/>
                      <a:pt x="4096389" y="4637903"/>
                    </a:cubicBezTo>
                    <a:lnTo>
                      <a:pt x="4040278" y="4916130"/>
                    </a:lnTo>
                    <a:cubicBezTo>
                      <a:pt x="4036177" y="4915934"/>
                      <a:pt x="4032073" y="4916440"/>
                      <a:pt x="4028142" y="4917626"/>
                    </a:cubicBezTo>
                    <a:cubicBezTo>
                      <a:pt x="4010573" y="4923255"/>
                      <a:pt x="3999903" y="4941039"/>
                      <a:pt x="4003203" y="4959190"/>
                    </a:cubicBezTo>
                    <a:lnTo>
                      <a:pt x="3745509" y="5045891"/>
                    </a:lnTo>
                    <a:cubicBezTo>
                      <a:pt x="3734915" y="5024446"/>
                      <a:pt x="3708942" y="5015650"/>
                      <a:pt x="3687497" y="5026245"/>
                    </a:cubicBezTo>
                    <a:cubicBezTo>
                      <a:pt x="3683524" y="5028208"/>
                      <a:pt x="3679876" y="5030768"/>
                      <a:pt x="3676680" y="5033838"/>
                    </a:cubicBezTo>
                    <a:lnTo>
                      <a:pt x="3477174" y="4857774"/>
                    </a:lnTo>
                    <a:cubicBezTo>
                      <a:pt x="3491650" y="4838618"/>
                      <a:pt x="3487856" y="4811354"/>
                      <a:pt x="3468700" y="4796877"/>
                    </a:cubicBezTo>
                    <a:cubicBezTo>
                      <a:pt x="3463814" y="4793185"/>
                      <a:pt x="3458204" y="4790567"/>
                      <a:pt x="3452236" y="4789194"/>
                    </a:cubicBezTo>
                    <a:lnTo>
                      <a:pt x="3506269" y="4521109"/>
                    </a:lnTo>
                    <a:cubicBezTo>
                      <a:pt x="3526451" y="4522723"/>
                      <a:pt x="3544119" y="4507670"/>
                      <a:pt x="3545733" y="4487489"/>
                    </a:cubicBezTo>
                    <a:cubicBezTo>
                      <a:pt x="3545999" y="4484166"/>
                      <a:pt x="3545810" y="4480822"/>
                      <a:pt x="3545172" y="4477550"/>
                    </a:cubicBezTo>
                    <a:lnTo>
                      <a:pt x="3816417" y="4386110"/>
                    </a:lnTo>
                    <a:cubicBezTo>
                      <a:pt x="3823152" y="4399887"/>
                      <a:pt x="3838946" y="4406671"/>
                      <a:pt x="3853574" y="4402071"/>
                    </a:cubicBezTo>
                    <a:cubicBezTo>
                      <a:pt x="3857425" y="4400804"/>
                      <a:pt x="3861005" y="4398831"/>
                      <a:pt x="3864131" y="4396252"/>
                    </a:cubicBezTo>
                    <a:close/>
                    <a:moveTo>
                      <a:pt x="3845428" y="4340806"/>
                    </a:moveTo>
                    <a:cubicBezTo>
                      <a:pt x="3841642" y="4340523"/>
                      <a:pt x="3837837" y="4340946"/>
                      <a:pt x="3834206" y="4342053"/>
                    </a:cubicBezTo>
                    <a:cubicBezTo>
                      <a:pt x="3819174" y="4346896"/>
                      <a:pt x="3810139" y="4362216"/>
                      <a:pt x="3813174" y="4377714"/>
                    </a:cubicBezTo>
                    <a:lnTo>
                      <a:pt x="3556311" y="4464167"/>
                    </a:lnTo>
                    <a:lnTo>
                      <a:pt x="3542180" y="4468905"/>
                    </a:lnTo>
                    <a:cubicBezTo>
                      <a:pt x="3534644" y="4451707"/>
                      <a:pt x="3515377" y="4442934"/>
                      <a:pt x="3497457" y="4448538"/>
                    </a:cubicBezTo>
                    <a:cubicBezTo>
                      <a:pt x="3492311" y="4450226"/>
                      <a:pt x="3487619" y="4453070"/>
                      <a:pt x="3483741" y="4456851"/>
                    </a:cubicBezTo>
                    <a:lnTo>
                      <a:pt x="3280911" y="4278045"/>
                    </a:lnTo>
                    <a:cubicBezTo>
                      <a:pt x="3296049" y="4259289"/>
                      <a:pt x="3293117" y="4231813"/>
                      <a:pt x="3274361" y="4216675"/>
                    </a:cubicBezTo>
                    <a:cubicBezTo>
                      <a:pt x="3269522" y="4212769"/>
                      <a:pt x="3263905" y="4209942"/>
                      <a:pt x="3257884" y="4208384"/>
                    </a:cubicBezTo>
                    <a:lnTo>
                      <a:pt x="3311834" y="3940880"/>
                    </a:lnTo>
                    <a:cubicBezTo>
                      <a:pt x="3330146" y="3942257"/>
                      <a:pt x="3346107" y="3928529"/>
                      <a:pt x="3347484" y="3910217"/>
                    </a:cubicBezTo>
                    <a:cubicBezTo>
                      <a:pt x="3347760" y="3906554"/>
                      <a:pt x="3347427" y="3902871"/>
                      <a:pt x="3346498" y="3899317"/>
                    </a:cubicBezTo>
                    <a:lnTo>
                      <a:pt x="3609513" y="3810786"/>
                    </a:lnTo>
                    <a:cubicBezTo>
                      <a:pt x="3619049" y="3830059"/>
                      <a:pt x="3641203" y="3839513"/>
                      <a:pt x="3661717" y="3833064"/>
                    </a:cubicBezTo>
                    <a:cubicBezTo>
                      <a:pt x="3667196" y="3831290"/>
                      <a:pt x="3672278" y="3828467"/>
                      <a:pt x="3676679" y="3824751"/>
                    </a:cubicBezTo>
                    <a:lnTo>
                      <a:pt x="3885994" y="4008712"/>
                    </a:lnTo>
                    <a:cubicBezTo>
                      <a:pt x="3874848" y="4023307"/>
                      <a:pt x="3877644" y="4044174"/>
                      <a:pt x="3892239" y="4055319"/>
                    </a:cubicBezTo>
                    <a:cubicBezTo>
                      <a:pt x="3895357" y="4057700"/>
                      <a:pt x="3898871" y="4059510"/>
                      <a:pt x="3902619" y="4060667"/>
                    </a:cubicBezTo>
                    <a:close/>
                    <a:moveTo>
                      <a:pt x="5483035" y="3787178"/>
                    </a:moveTo>
                    <a:cubicBezTo>
                      <a:pt x="5470536" y="3804371"/>
                      <a:pt x="5474340" y="3828441"/>
                      <a:pt x="5491533" y="3840941"/>
                    </a:cubicBezTo>
                    <a:cubicBezTo>
                      <a:pt x="5494982" y="3843449"/>
                      <a:pt x="5498825" y="3845366"/>
                      <a:pt x="5502903" y="3846614"/>
                    </a:cubicBezTo>
                    <a:lnTo>
                      <a:pt x="5446542" y="4124176"/>
                    </a:lnTo>
                    <a:cubicBezTo>
                      <a:pt x="5442448" y="4123797"/>
                      <a:pt x="5438320" y="4124250"/>
                      <a:pt x="5434405" y="4125506"/>
                    </a:cubicBezTo>
                    <a:cubicBezTo>
                      <a:pt x="5419323" y="4130286"/>
                      <a:pt x="5410259" y="4145655"/>
                      <a:pt x="5413374" y="4161167"/>
                    </a:cubicBezTo>
                    <a:lnTo>
                      <a:pt x="5150609" y="4249532"/>
                    </a:lnTo>
                    <a:cubicBezTo>
                      <a:pt x="5142374" y="4227124"/>
                      <a:pt x="5117534" y="4215635"/>
                      <a:pt x="5095126" y="4223869"/>
                    </a:cubicBezTo>
                    <a:cubicBezTo>
                      <a:pt x="5089010" y="4226117"/>
                      <a:pt x="5083482" y="4229718"/>
                      <a:pt x="5078954" y="4234403"/>
                    </a:cubicBezTo>
                    <a:lnTo>
                      <a:pt x="4872216" y="4052188"/>
                    </a:lnTo>
                    <a:cubicBezTo>
                      <a:pt x="4882793" y="4038604"/>
                      <a:pt x="4880356" y="4019018"/>
                      <a:pt x="4866772" y="4008441"/>
                    </a:cubicBezTo>
                    <a:cubicBezTo>
                      <a:pt x="4863617" y="4005984"/>
                      <a:pt x="4860018" y="4004157"/>
                      <a:pt x="4856172" y="4003060"/>
                    </a:cubicBezTo>
                    <a:lnTo>
                      <a:pt x="4913530" y="3718349"/>
                    </a:lnTo>
                    <a:cubicBezTo>
                      <a:pt x="4930367" y="3718983"/>
                      <a:pt x="4944530" y="3705848"/>
                      <a:pt x="4945165" y="3689011"/>
                    </a:cubicBezTo>
                    <a:cubicBezTo>
                      <a:pt x="4945241" y="3686979"/>
                      <a:pt x="4945115" y="3684943"/>
                      <a:pt x="4944786" y="3682936"/>
                    </a:cubicBezTo>
                    <a:lnTo>
                      <a:pt x="5211209" y="3593242"/>
                    </a:lnTo>
                    <a:cubicBezTo>
                      <a:pt x="5220573" y="3612940"/>
                      <a:pt x="5243041" y="3622701"/>
                      <a:pt x="5263829" y="3616102"/>
                    </a:cubicBezTo>
                    <a:cubicBezTo>
                      <a:pt x="5269457" y="3614382"/>
                      <a:pt x="5274685" y="3611556"/>
                      <a:pt x="5279207" y="3607789"/>
                    </a:cubicBezTo>
                    <a:close/>
                    <a:moveTo>
                      <a:pt x="5254851" y="3531063"/>
                    </a:moveTo>
                    <a:cubicBezTo>
                      <a:pt x="5230796" y="3528934"/>
                      <a:pt x="5209571" y="3546709"/>
                      <a:pt x="5207442" y="3570764"/>
                    </a:cubicBezTo>
                    <a:cubicBezTo>
                      <a:pt x="5206996" y="3575799"/>
                      <a:pt x="5207427" y="3580873"/>
                      <a:pt x="5208715" y="3585761"/>
                    </a:cubicBezTo>
                    <a:lnTo>
                      <a:pt x="4942708" y="3675289"/>
                    </a:lnTo>
                    <a:cubicBezTo>
                      <a:pt x="4936379" y="3660696"/>
                      <a:pt x="4920079" y="3653209"/>
                      <a:pt x="4904885" y="3657915"/>
                    </a:cubicBezTo>
                    <a:cubicBezTo>
                      <a:pt x="4900826" y="3659207"/>
                      <a:pt x="4897067" y="3661299"/>
                      <a:pt x="4893829" y="3664066"/>
                    </a:cubicBezTo>
                    <a:lnTo>
                      <a:pt x="4684016" y="3479274"/>
                    </a:lnTo>
                    <a:cubicBezTo>
                      <a:pt x="4696412" y="3461838"/>
                      <a:pt x="4692327" y="3437654"/>
                      <a:pt x="4674891" y="3425257"/>
                    </a:cubicBezTo>
                    <a:cubicBezTo>
                      <a:pt x="4671230" y="3422655"/>
                      <a:pt x="4667145" y="3420708"/>
                      <a:pt x="4662818" y="3419506"/>
                    </a:cubicBezTo>
                    <a:lnTo>
                      <a:pt x="4719012" y="3140531"/>
                    </a:lnTo>
                    <a:cubicBezTo>
                      <a:pt x="4722747" y="3140747"/>
                      <a:pt x="4726491" y="3140297"/>
                      <a:pt x="4730068" y="3139201"/>
                    </a:cubicBezTo>
                    <a:cubicBezTo>
                      <a:pt x="4745014" y="3134399"/>
                      <a:pt x="4754035" y="3119210"/>
                      <a:pt x="4751099" y="3103789"/>
                    </a:cubicBezTo>
                    <a:lnTo>
                      <a:pt x="5021263" y="3012847"/>
                    </a:lnTo>
                    <a:cubicBezTo>
                      <a:pt x="5029776" y="3029882"/>
                      <a:pt x="5049388" y="3038227"/>
                      <a:pt x="5067565" y="3032549"/>
                    </a:cubicBezTo>
                    <a:cubicBezTo>
                      <a:pt x="5072000" y="3031073"/>
                      <a:pt x="5076138" y="3028821"/>
                      <a:pt x="5079785" y="3025899"/>
                    </a:cubicBezTo>
                    <a:lnTo>
                      <a:pt x="5293921" y="3214681"/>
                    </a:lnTo>
                    <a:cubicBezTo>
                      <a:pt x="5284917" y="3229085"/>
                      <a:pt x="5289294" y="3248061"/>
                      <a:pt x="5303699" y="3257065"/>
                    </a:cubicBezTo>
                    <a:cubicBezTo>
                      <a:pt x="5305467" y="3258170"/>
                      <a:pt x="5307344" y="3259093"/>
                      <a:pt x="5309300" y="3259819"/>
                    </a:cubicBezTo>
                    <a:close/>
                    <a:moveTo>
                      <a:pt x="7647753" y="4019269"/>
                    </a:moveTo>
                    <a:cubicBezTo>
                      <a:pt x="7642025" y="4018361"/>
                      <a:pt x="7636164" y="4018787"/>
                      <a:pt x="7630629" y="4020517"/>
                    </a:cubicBezTo>
                    <a:cubicBezTo>
                      <a:pt x="7610478" y="4026931"/>
                      <a:pt x="7599169" y="4048293"/>
                      <a:pt x="7605192" y="4068564"/>
                    </a:cubicBezTo>
                    <a:lnTo>
                      <a:pt x="7339184" y="4158009"/>
                    </a:lnTo>
                    <a:cubicBezTo>
                      <a:pt x="7331991" y="4142976"/>
                      <a:pt x="7313973" y="4136620"/>
                      <a:pt x="7298940" y="4143813"/>
                    </a:cubicBezTo>
                    <a:cubicBezTo>
                      <a:pt x="7295645" y="4145390"/>
                      <a:pt x="7292662" y="4147553"/>
                      <a:pt x="7290139" y="4150195"/>
                    </a:cubicBezTo>
                    <a:lnTo>
                      <a:pt x="7076170" y="3961579"/>
                    </a:lnTo>
                    <a:cubicBezTo>
                      <a:pt x="7088913" y="3944509"/>
                      <a:pt x="7085405" y="3920340"/>
                      <a:pt x="7068334" y="3907597"/>
                    </a:cubicBezTo>
                    <a:cubicBezTo>
                      <a:pt x="7064873" y="3905013"/>
                      <a:pt x="7061002" y="3903029"/>
                      <a:pt x="7056884" y="3901727"/>
                    </a:cubicBezTo>
                    <a:lnTo>
                      <a:pt x="7112413" y="3626161"/>
                    </a:lnTo>
                    <a:cubicBezTo>
                      <a:pt x="7116087" y="3626350"/>
                      <a:pt x="7119767" y="3625929"/>
                      <a:pt x="7123303" y="3624914"/>
                    </a:cubicBezTo>
                    <a:cubicBezTo>
                      <a:pt x="7138893" y="3619890"/>
                      <a:pt x="7147936" y="3603656"/>
                      <a:pt x="7144001" y="3587756"/>
                    </a:cubicBezTo>
                    <a:lnTo>
                      <a:pt x="7412918" y="3497230"/>
                    </a:lnTo>
                    <a:cubicBezTo>
                      <a:pt x="7421308" y="3516661"/>
                      <a:pt x="7443861" y="3525611"/>
                      <a:pt x="7463291" y="3517222"/>
                    </a:cubicBezTo>
                    <a:cubicBezTo>
                      <a:pt x="7467300" y="3515490"/>
                      <a:pt x="7470984" y="3513087"/>
                      <a:pt x="7474183" y="3510115"/>
                    </a:cubicBezTo>
                    <a:lnTo>
                      <a:pt x="7687321" y="3698066"/>
                    </a:lnTo>
                    <a:cubicBezTo>
                      <a:pt x="7683584" y="3705368"/>
                      <a:pt x="7682867" y="3713847"/>
                      <a:pt x="7685326" y="3721674"/>
                    </a:cubicBezTo>
                    <a:cubicBezTo>
                      <a:pt x="7688230" y="3730525"/>
                      <a:pt x="7694891" y="3737643"/>
                      <a:pt x="7703531" y="3741126"/>
                    </a:cubicBezTo>
                    <a:close/>
                    <a:moveTo>
                      <a:pt x="8681689" y="3352838"/>
                    </a:moveTo>
                    <a:cubicBezTo>
                      <a:pt x="8667651" y="3372205"/>
                      <a:pt x="8671971" y="3399284"/>
                      <a:pt x="8691338" y="3413322"/>
                    </a:cubicBezTo>
                    <a:cubicBezTo>
                      <a:pt x="8694914" y="3415914"/>
                      <a:pt x="8698864" y="3417943"/>
                      <a:pt x="8703053" y="3419340"/>
                    </a:cubicBezTo>
                    <a:lnTo>
                      <a:pt x="8649186" y="3683020"/>
                    </a:lnTo>
                    <a:cubicBezTo>
                      <a:pt x="8628105" y="3679959"/>
                      <a:pt x="8608535" y="3694567"/>
                      <a:pt x="8605474" y="3715648"/>
                    </a:cubicBezTo>
                    <a:cubicBezTo>
                      <a:pt x="8604693" y="3721025"/>
                      <a:pt x="8605057" y="3726506"/>
                      <a:pt x="8606542" y="3731732"/>
                    </a:cubicBezTo>
                    <a:lnTo>
                      <a:pt x="8337875" y="3822174"/>
                    </a:lnTo>
                    <a:cubicBezTo>
                      <a:pt x="8331342" y="3807898"/>
                      <a:pt x="8315169" y="3800758"/>
                      <a:pt x="8300218" y="3805549"/>
                    </a:cubicBezTo>
                    <a:cubicBezTo>
                      <a:pt x="8296297" y="3806808"/>
                      <a:pt x="8292656" y="3808812"/>
                      <a:pt x="8289495" y="3811451"/>
                    </a:cubicBezTo>
                    <a:lnTo>
                      <a:pt x="8080762" y="3627491"/>
                    </a:lnTo>
                    <a:cubicBezTo>
                      <a:pt x="8095308" y="3608329"/>
                      <a:pt x="8091566" y="3581004"/>
                      <a:pt x="8072404" y="3566459"/>
                    </a:cubicBezTo>
                    <a:cubicBezTo>
                      <a:pt x="8068459" y="3563464"/>
                      <a:pt x="8064033" y="3561165"/>
                      <a:pt x="8059315" y="3559658"/>
                    </a:cubicBezTo>
                    <a:lnTo>
                      <a:pt x="8114180" y="3287167"/>
                    </a:lnTo>
                    <a:cubicBezTo>
                      <a:pt x="8117468" y="3287286"/>
                      <a:pt x="8120754" y="3286865"/>
                      <a:pt x="8123905" y="3285920"/>
                    </a:cubicBezTo>
                    <a:cubicBezTo>
                      <a:pt x="8138551" y="3281261"/>
                      <a:pt x="8147594" y="3266601"/>
                      <a:pt x="8145186" y="3251422"/>
                    </a:cubicBezTo>
                    <a:lnTo>
                      <a:pt x="8422083" y="3158237"/>
                    </a:lnTo>
                    <a:cubicBezTo>
                      <a:pt x="8428853" y="3172071"/>
                      <a:pt x="8444710" y="3178887"/>
                      <a:pt x="8459407" y="3174280"/>
                    </a:cubicBezTo>
                    <a:cubicBezTo>
                      <a:pt x="8463603" y="3172929"/>
                      <a:pt x="8467459" y="3170689"/>
                      <a:pt x="8470712" y="3167714"/>
                    </a:cubicBezTo>
                    <a:close/>
                    <a:moveTo>
                      <a:pt x="7511590" y="3184838"/>
                    </a:moveTo>
                    <a:cubicBezTo>
                      <a:pt x="7538946" y="3188068"/>
                      <a:pt x="7563741" y="3168510"/>
                      <a:pt x="7566971" y="3141154"/>
                    </a:cubicBezTo>
                    <a:cubicBezTo>
                      <a:pt x="7567658" y="3135334"/>
                      <a:pt x="7567315" y="3129439"/>
                      <a:pt x="7565955" y="3123739"/>
                    </a:cubicBezTo>
                    <a:lnTo>
                      <a:pt x="7815337" y="3039615"/>
                    </a:lnTo>
                    <a:cubicBezTo>
                      <a:pt x="7823692" y="3059110"/>
                      <a:pt x="7846269" y="3068142"/>
                      <a:pt x="7865764" y="3059787"/>
                    </a:cubicBezTo>
                    <a:cubicBezTo>
                      <a:pt x="7870135" y="3057914"/>
                      <a:pt x="7874120" y="3055246"/>
                      <a:pt x="7877516" y="3051918"/>
                    </a:cubicBezTo>
                    <a:lnTo>
                      <a:pt x="8089075" y="3238372"/>
                    </a:lnTo>
                    <a:cubicBezTo>
                      <a:pt x="8079166" y="3252338"/>
                      <a:pt x="8082453" y="3271693"/>
                      <a:pt x="8096419" y="3281602"/>
                    </a:cubicBezTo>
                    <a:cubicBezTo>
                      <a:pt x="8099241" y="3283604"/>
                      <a:pt x="8102378" y="3285120"/>
                      <a:pt x="8105701" y="3286087"/>
                    </a:cubicBezTo>
                    <a:lnTo>
                      <a:pt x="8050920" y="3557747"/>
                    </a:lnTo>
                    <a:cubicBezTo>
                      <a:pt x="8044775" y="3557020"/>
                      <a:pt x="8038545" y="3557586"/>
                      <a:pt x="8032632" y="3559409"/>
                    </a:cubicBezTo>
                    <a:cubicBezTo>
                      <a:pt x="8010452" y="3566476"/>
                      <a:pt x="7997698" y="3589682"/>
                      <a:pt x="8003621" y="3612195"/>
                    </a:cubicBezTo>
                    <a:lnTo>
                      <a:pt x="7743099" y="3699562"/>
                    </a:lnTo>
                    <a:cubicBezTo>
                      <a:pt x="7736506" y="3685302"/>
                      <a:pt x="7720332" y="3678176"/>
                      <a:pt x="7705360" y="3682936"/>
                    </a:cubicBezTo>
                    <a:cubicBezTo>
                      <a:pt x="7700451" y="3684613"/>
                      <a:pt x="7696026" y="3687467"/>
                      <a:pt x="7692475" y="3691249"/>
                    </a:cubicBezTo>
                    <a:lnTo>
                      <a:pt x="7479836" y="3503797"/>
                    </a:lnTo>
                    <a:cubicBezTo>
                      <a:pt x="7491870" y="3486220"/>
                      <a:pt x="7487377" y="3462215"/>
                      <a:pt x="7469799" y="3450180"/>
                    </a:cubicBezTo>
                    <a:cubicBezTo>
                      <a:pt x="7466481" y="3447908"/>
                      <a:pt x="7462827" y="3446169"/>
                      <a:pt x="7458971" y="3445026"/>
                    </a:cubicBezTo>
                    <a:close/>
                    <a:moveTo>
                      <a:pt x="7089137" y="3576450"/>
                    </a:moveTo>
                    <a:cubicBezTo>
                      <a:pt x="7078637" y="3589978"/>
                      <a:pt x="7081092" y="3609456"/>
                      <a:pt x="7094619" y="3619956"/>
                    </a:cubicBezTo>
                    <a:cubicBezTo>
                      <a:pt x="7097348" y="3622074"/>
                      <a:pt x="7100413" y="3623722"/>
                      <a:pt x="7103685" y="3624830"/>
                    </a:cubicBezTo>
                    <a:lnTo>
                      <a:pt x="7048156" y="3899732"/>
                    </a:lnTo>
                    <a:cubicBezTo>
                      <a:pt x="7043140" y="3899314"/>
                      <a:pt x="7038092" y="3899850"/>
                      <a:pt x="7033276" y="3901312"/>
                    </a:cubicBezTo>
                    <a:cubicBezTo>
                      <a:pt x="7014032" y="3907458"/>
                      <a:pt x="7002741" y="3927361"/>
                      <a:pt x="7007340" y="3947032"/>
                    </a:cubicBezTo>
                    <a:lnTo>
                      <a:pt x="6747650" y="4034482"/>
                    </a:lnTo>
                    <a:cubicBezTo>
                      <a:pt x="6739966" y="4015997"/>
                      <a:pt x="6719463" y="4006412"/>
                      <a:pt x="6700351" y="4012370"/>
                    </a:cubicBezTo>
                    <a:cubicBezTo>
                      <a:pt x="6694230" y="4014335"/>
                      <a:pt x="6688709" y="4017825"/>
                      <a:pt x="6684307" y="4022512"/>
                    </a:cubicBezTo>
                    <a:lnTo>
                      <a:pt x="6482973" y="3844951"/>
                    </a:lnTo>
                    <a:cubicBezTo>
                      <a:pt x="6497572" y="3825831"/>
                      <a:pt x="6493907" y="3798496"/>
                      <a:pt x="6474787" y="3783897"/>
                    </a:cubicBezTo>
                    <a:cubicBezTo>
                      <a:pt x="6470012" y="3780251"/>
                      <a:pt x="6464535" y="3777632"/>
                      <a:pt x="6458700" y="3776205"/>
                    </a:cubicBezTo>
                    <a:lnTo>
                      <a:pt x="6513897" y="3502467"/>
                    </a:lnTo>
                    <a:cubicBezTo>
                      <a:pt x="6518067" y="3502880"/>
                      <a:pt x="6522278" y="3502456"/>
                      <a:pt x="6526282" y="3501220"/>
                    </a:cubicBezTo>
                    <a:cubicBezTo>
                      <a:pt x="6541233" y="3496457"/>
                      <a:pt x="6550312" y="3481324"/>
                      <a:pt x="6547480" y="3465891"/>
                    </a:cubicBezTo>
                    <a:lnTo>
                      <a:pt x="6805174" y="3379273"/>
                    </a:lnTo>
                    <a:cubicBezTo>
                      <a:pt x="6815578" y="3402275"/>
                      <a:pt x="6841529" y="3413876"/>
                      <a:pt x="6865608" y="3406289"/>
                    </a:cubicBezTo>
                    <a:cubicBezTo>
                      <a:pt x="6872691" y="3404066"/>
                      <a:pt x="6879173" y="3400256"/>
                      <a:pt x="6884561" y="3395150"/>
                    </a:cubicBezTo>
                    <a:close/>
                    <a:moveTo>
                      <a:pt x="6856381" y="3309861"/>
                    </a:moveTo>
                    <a:cubicBezTo>
                      <a:pt x="6829021" y="3306666"/>
                      <a:pt x="6804251" y="3326256"/>
                      <a:pt x="6801057" y="3353617"/>
                    </a:cubicBezTo>
                    <a:cubicBezTo>
                      <a:pt x="6800336" y="3359785"/>
                      <a:pt x="6800774" y="3366033"/>
                      <a:pt x="6802348" y="3372041"/>
                    </a:cubicBezTo>
                    <a:lnTo>
                      <a:pt x="6545236" y="3458576"/>
                    </a:lnTo>
                    <a:cubicBezTo>
                      <a:pt x="6538635" y="3444504"/>
                      <a:pt x="6522697" y="3437420"/>
                      <a:pt x="6507828" y="3441950"/>
                    </a:cubicBezTo>
                    <a:cubicBezTo>
                      <a:pt x="6503389" y="3443431"/>
                      <a:pt x="6499330" y="3445872"/>
                      <a:pt x="6495941" y="3449099"/>
                    </a:cubicBezTo>
                    <a:lnTo>
                      <a:pt x="6286959" y="3264973"/>
                    </a:lnTo>
                    <a:cubicBezTo>
                      <a:pt x="6301686" y="3245892"/>
                      <a:pt x="6298156" y="3218486"/>
                      <a:pt x="6279075" y="3203760"/>
                    </a:cubicBezTo>
                    <a:cubicBezTo>
                      <a:pt x="6274821" y="3200476"/>
                      <a:pt x="6269998" y="3198007"/>
                      <a:pt x="6264847" y="3196476"/>
                    </a:cubicBezTo>
                    <a:lnTo>
                      <a:pt x="6318963" y="2928141"/>
                    </a:lnTo>
                    <a:cubicBezTo>
                      <a:pt x="6339850" y="2931829"/>
                      <a:pt x="6359773" y="2917887"/>
                      <a:pt x="6363461" y="2897000"/>
                    </a:cubicBezTo>
                    <a:cubicBezTo>
                      <a:pt x="6364250" y="2892534"/>
                      <a:pt x="6364241" y="2887964"/>
                      <a:pt x="6363436" y="2883501"/>
                    </a:cubicBezTo>
                    <a:lnTo>
                      <a:pt x="6615644" y="2798628"/>
                    </a:lnTo>
                    <a:cubicBezTo>
                      <a:pt x="6624726" y="2818726"/>
                      <a:pt x="6647395" y="2828865"/>
                      <a:pt x="6668430" y="2822237"/>
                    </a:cubicBezTo>
                    <a:cubicBezTo>
                      <a:pt x="6674387" y="2820370"/>
                      <a:pt x="6679864" y="2817220"/>
                      <a:pt x="6684473" y="2813010"/>
                    </a:cubicBezTo>
                    <a:lnTo>
                      <a:pt x="6893373" y="2997136"/>
                    </a:lnTo>
                    <a:cubicBezTo>
                      <a:pt x="6883805" y="3011339"/>
                      <a:pt x="6887563" y="3030608"/>
                      <a:pt x="6901766" y="3040175"/>
                    </a:cubicBezTo>
                    <a:cubicBezTo>
                      <a:pt x="6904301" y="3041883"/>
                      <a:pt x="6907075" y="3043207"/>
                      <a:pt x="6909998" y="3044103"/>
                    </a:cubicBezTo>
                    <a:close/>
                    <a:moveTo>
                      <a:pt x="8260151" y="2524641"/>
                    </a:moveTo>
                    <a:cubicBezTo>
                      <a:pt x="8254731" y="2523942"/>
                      <a:pt x="8249223" y="2524453"/>
                      <a:pt x="8244024" y="2526137"/>
                    </a:cubicBezTo>
                    <a:cubicBezTo>
                      <a:pt x="8224456" y="2532367"/>
                      <a:pt x="8213175" y="2552812"/>
                      <a:pt x="8218338" y="2572688"/>
                    </a:cubicBezTo>
                    <a:lnTo>
                      <a:pt x="7963969" y="2658310"/>
                    </a:lnTo>
                    <a:cubicBezTo>
                      <a:pt x="7952910" y="2636593"/>
                      <a:pt x="7927777" y="2626047"/>
                      <a:pt x="7904532" y="2633372"/>
                    </a:cubicBezTo>
                    <a:cubicBezTo>
                      <a:pt x="7898795" y="2635132"/>
                      <a:pt x="7893438" y="2637951"/>
                      <a:pt x="7888738" y="2641684"/>
                    </a:cubicBezTo>
                    <a:lnTo>
                      <a:pt x="7686407" y="2463293"/>
                    </a:lnTo>
                    <a:cubicBezTo>
                      <a:pt x="7697999" y="2449051"/>
                      <a:pt x="7695851" y="2428107"/>
                      <a:pt x="7681608" y="2416515"/>
                    </a:cubicBezTo>
                    <a:cubicBezTo>
                      <a:pt x="7677876" y="2413477"/>
                      <a:pt x="7673529" y="2411286"/>
                      <a:pt x="7668867" y="2410092"/>
                    </a:cubicBezTo>
                    <a:lnTo>
                      <a:pt x="7723897" y="2137434"/>
                    </a:lnTo>
                    <a:cubicBezTo>
                      <a:pt x="7729083" y="2137945"/>
                      <a:pt x="7734319" y="2137379"/>
                      <a:pt x="7739275" y="2135772"/>
                    </a:cubicBezTo>
                    <a:cubicBezTo>
                      <a:pt x="7758741" y="2129510"/>
                      <a:pt x="7770012" y="2109222"/>
                      <a:pt x="7765045" y="2089387"/>
                    </a:cubicBezTo>
                    <a:lnTo>
                      <a:pt x="8015009" y="2005262"/>
                    </a:lnTo>
                    <a:cubicBezTo>
                      <a:pt x="8025043" y="2028932"/>
                      <a:pt x="8051425" y="2041096"/>
                      <a:pt x="8075941" y="2033359"/>
                    </a:cubicBezTo>
                    <a:cubicBezTo>
                      <a:pt x="8083184" y="2031013"/>
                      <a:pt x="8089805" y="2027063"/>
                      <a:pt x="8095310" y="2021804"/>
                    </a:cubicBezTo>
                    <a:lnTo>
                      <a:pt x="8286502" y="2189971"/>
                    </a:lnTo>
                    <a:cubicBezTo>
                      <a:pt x="8270001" y="2212027"/>
                      <a:pt x="8274505" y="2243284"/>
                      <a:pt x="8296562" y="2259786"/>
                    </a:cubicBezTo>
                    <a:cubicBezTo>
                      <a:pt x="8301314" y="2263340"/>
                      <a:pt x="8306662" y="2266019"/>
                      <a:pt x="8312355" y="2267695"/>
                    </a:cubicBezTo>
                    <a:close/>
                    <a:moveTo>
                      <a:pt x="9901000" y="1985062"/>
                    </a:moveTo>
                    <a:cubicBezTo>
                      <a:pt x="9890596" y="1998721"/>
                      <a:pt x="9893235" y="2018228"/>
                      <a:pt x="9906894" y="2028632"/>
                    </a:cubicBezTo>
                    <a:cubicBezTo>
                      <a:pt x="9909655" y="2030735"/>
                      <a:pt x="9912748" y="2032361"/>
                      <a:pt x="9916046" y="2033442"/>
                    </a:cubicBezTo>
                    <a:lnTo>
                      <a:pt x="9862845" y="2296623"/>
                    </a:lnTo>
                    <a:cubicBezTo>
                      <a:pt x="9835614" y="2292466"/>
                      <a:pt x="9810170" y="2311170"/>
                      <a:pt x="9806012" y="2338401"/>
                    </a:cubicBezTo>
                    <a:cubicBezTo>
                      <a:pt x="9804907" y="2345637"/>
                      <a:pt x="9805409" y="2353028"/>
                      <a:pt x="9807482" y="2360049"/>
                    </a:cubicBezTo>
                    <a:lnTo>
                      <a:pt x="9550286" y="2446585"/>
                    </a:lnTo>
                    <a:cubicBezTo>
                      <a:pt x="9544567" y="2430965"/>
                      <a:pt x="9527592" y="2422587"/>
                      <a:pt x="9511715" y="2427548"/>
                    </a:cubicBezTo>
                    <a:cubicBezTo>
                      <a:pt x="9507176" y="2429001"/>
                      <a:pt x="9503045" y="2431508"/>
                      <a:pt x="9499662" y="2434864"/>
                    </a:cubicBezTo>
                    <a:lnTo>
                      <a:pt x="9299159" y="2258135"/>
                    </a:lnTo>
                    <a:cubicBezTo>
                      <a:pt x="9316592" y="2236808"/>
                      <a:pt x="9313436" y="2205386"/>
                      <a:pt x="9292110" y="2187952"/>
                    </a:cubicBezTo>
                    <a:cubicBezTo>
                      <a:pt x="9286218" y="2183136"/>
                      <a:pt x="9279303" y="2179732"/>
                      <a:pt x="9271893" y="2178000"/>
                    </a:cubicBezTo>
                    <a:lnTo>
                      <a:pt x="9325177" y="1913822"/>
                    </a:lnTo>
                    <a:cubicBezTo>
                      <a:pt x="9329133" y="1914116"/>
                      <a:pt x="9333109" y="1913665"/>
                      <a:pt x="9336898" y="1912492"/>
                    </a:cubicBezTo>
                    <a:cubicBezTo>
                      <a:pt x="9352470" y="1907539"/>
                      <a:pt x="9361551" y="1891376"/>
                      <a:pt x="9357680" y="1875500"/>
                    </a:cubicBezTo>
                    <a:lnTo>
                      <a:pt x="9616705" y="1788300"/>
                    </a:lnTo>
                    <a:cubicBezTo>
                      <a:pt x="9626619" y="1812141"/>
                      <a:pt x="9653089" y="1824475"/>
                      <a:pt x="9677720" y="1816729"/>
                    </a:cubicBezTo>
                    <a:cubicBezTo>
                      <a:pt x="9684987" y="1814435"/>
                      <a:pt x="9691618" y="1810478"/>
                      <a:pt x="9697088" y="1805174"/>
                    </a:cubicBezTo>
                    <a:close/>
                    <a:moveTo>
                      <a:pt x="9302484" y="1864610"/>
                    </a:moveTo>
                    <a:cubicBezTo>
                      <a:pt x="9292423" y="1878411"/>
                      <a:pt x="9295455" y="1897754"/>
                      <a:pt x="9309256" y="1907815"/>
                    </a:cubicBezTo>
                    <a:cubicBezTo>
                      <a:pt x="9311686" y="1909586"/>
                      <a:pt x="9314361" y="1910994"/>
                      <a:pt x="9317198" y="1911993"/>
                    </a:cubicBezTo>
                    <a:lnTo>
                      <a:pt x="9263830" y="2176753"/>
                    </a:lnTo>
                    <a:cubicBezTo>
                      <a:pt x="9257737" y="2176407"/>
                      <a:pt x="9251630" y="2177139"/>
                      <a:pt x="9245791" y="2178915"/>
                    </a:cubicBezTo>
                    <a:cubicBezTo>
                      <a:pt x="9220919" y="2186893"/>
                      <a:pt x="9206416" y="2212709"/>
                      <a:pt x="9212540" y="2238101"/>
                    </a:cubicBezTo>
                    <a:lnTo>
                      <a:pt x="8951770" y="2325801"/>
                    </a:lnTo>
                    <a:cubicBezTo>
                      <a:pt x="8945411" y="2311240"/>
                      <a:pt x="8929118" y="2303792"/>
                      <a:pt x="8913947" y="2308510"/>
                    </a:cubicBezTo>
                    <a:cubicBezTo>
                      <a:pt x="8909611" y="2309893"/>
                      <a:pt x="8905636" y="2312221"/>
                      <a:pt x="8902309" y="2315327"/>
                    </a:cubicBezTo>
                    <a:lnTo>
                      <a:pt x="8699063" y="2136353"/>
                    </a:lnTo>
                    <a:cubicBezTo>
                      <a:pt x="8715865" y="2114525"/>
                      <a:pt x="8711790" y="2083209"/>
                      <a:pt x="8689962" y="2066407"/>
                    </a:cubicBezTo>
                    <a:cubicBezTo>
                      <a:pt x="8684963" y="2062559"/>
                      <a:pt x="8679278" y="2059694"/>
                      <a:pt x="8673210" y="2057964"/>
                    </a:cubicBezTo>
                    <a:lnTo>
                      <a:pt x="8727077" y="1790877"/>
                    </a:lnTo>
                    <a:cubicBezTo>
                      <a:pt x="8744105" y="1792175"/>
                      <a:pt x="8758963" y="1779423"/>
                      <a:pt x="8760262" y="1762394"/>
                    </a:cubicBezTo>
                    <a:cubicBezTo>
                      <a:pt x="8760466" y="1759716"/>
                      <a:pt x="8760320" y="1757023"/>
                      <a:pt x="8759829" y="1754384"/>
                    </a:cubicBezTo>
                    <a:lnTo>
                      <a:pt x="9031073" y="1662944"/>
                    </a:lnTo>
                    <a:cubicBezTo>
                      <a:pt x="9038728" y="1681141"/>
                      <a:pt x="9059684" y="1689687"/>
                      <a:pt x="9077881" y="1682032"/>
                    </a:cubicBezTo>
                    <a:cubicBezTo>
                      <a:pt x="9081599" y="1680469"/>
                      <a:pt x="9085025" y="1678287"/>
                      <a:pt x="9088015" y="1675579"/>
                    </a:cubicBezTo>
                    <a:close/>
                    <a:moveTo>
                      <a:pt x="8738216" y="183943"/>
                    </a:moveTo>
                    <a:cubicBezTo>
                      <a:pt x="8743374" y="184372"/>
                      <a:pt x="8748566" y="183807"/>
                      <a:pt x="8753512" y="182281"/>
                    </a:cubicBezTo>
                    <a:cubicBezTo>
                      <a:pt x="8772892" y="176058"/>
                      <a:pt x="8784174" y="155923"/>
                      <a:pt x="8779364" y="136145"/>
                    </a:cubicBezTo>
                    <a:lnTo>
                      <a:pt x="9049444" y="45204"/>
                    </a:lnTo>
                    <a:cubicBezTo>
                      <a:pt x="9056989" y="60525"/>
                      <a:pt x="9075526" y="66830"/>
                      <a:pt x="9090848" y="59285"/>
                    </a:cubicBezTo>
                    <a:cubicBezTo>
                      <a:pt x="9092983" y="58234"/>
                      <a:pt x="9094989" y="56940"/>
                      <a:pt x="9096827" y="55428"/>
                    </a:cubicBezTo>
                    <a:lnTo>
                      <a:pt x="9314787" y="247619"/>
                    </a:lnTo>
                    <a:cubicBezTo>
                      <a:pt x="9304281" y="261141"/>
                      <a:pt x="9306726" y="280621"/>
                      <a:pt x="9320249" y="291127"/>
                    </a:cubicBezTo>
                    <a:cubicBezTo>
                      <a:pt x="9323261" y="293467"/>
                      <a:pt x="9326679" y="295231"/>
                      <a:pt x="9330331" y="296331"/>
                    </a:cubicBezTo>
                    <a:lnTo>
                      <a:pt x="9274969" y="571233"/>
                    </a:lnTo>
                    <a:cubicBezTo>
                      <a:pt x="9269390" y="570504"/>
                      <a:pt x="9263719" y="570986"/>
                      <a:pt x="9258343" y="572646"/>
                    </a:cubicBezTo>
                    <a:cubicBezTo>
                      <a:pt x="9238624" y="578844"/>
                      <a:pt x="9227296" y="599484"/>
                      <a:pt x="9232657" y="619447"/>
                    </a:cubicBezTo>
                    <a:lnTo>
                      <a:pt x="8963407" y="710056"/>
                    </a:lnTo>
                    <a:cubicBezTo>
                      <a:pt x="8956861" y="695929"/>
                      <a:pt x="8940873" y="688823"/>
                      <a:pt x="8926000" y="693430"/>
                    </a:cubicBezTo>
                    <a:cubicBezTo>
                      <a:pt x="8922466" y="694570"/>
                      <a:pt x="8919170" y="696344"/>
                      <a:pt x="8916274" y="698667"/>
                    </a:cubicBezTo>
                    <a:lnTo>
                      <a:pt x="8698314" y="506560"/>
                    </a:lnTo>
                    <a:cubicBezTo>
                      <a:pt x="8707538" y="492241"/>
                      <a:pt x="8703407" y="473156"/>
                      <a:pt x="8689088" y="463932"/>
                    </a:cubicBezTo>
                    <a:cubicBezTo>
                      <a:pt x="8686984" y="462577"/>
                      <a:pt x="8684723" y="461483"/>
                      <a:pt x="8682354" y="460674"/>
                    </a:cubicBezTo>
                    <a:close/>
                    <a:moveTo>
                      <a:pt x="8336296" y="634825"/>
                    </a:moveTo>
                    <a:cubicBezTo>
                      <a:pt x="8353335" y="635986"/>
                      <a:pt x="8368088" y="623114"/>
                      <a:pt x="8369249" y="606075"/>
                    </a:cubicBezTo>
                    <a:cubicBezTo>
                      <a:pt x="8369462" y="602946"/>
                      <a:pt x="8369198" y="599803"/>
                      <a:pt x="8368466" y="596753"/>
                    </a:cubicBezTo>
                    <a:lnTo>
                      <a:pt x="8644282" y="503983"/>
                    </a:lnTo>
                    <a:cubicBezTo>
                      <a:pt x="8651837" y="519402"/>
                      <a:pt x="8670461" y="525776"/>
                      <a:pt x="8685880" y="518220"/>
                    </a:cubicBezTo>
                    <a:cubicBezTo>
                      <a:pt x="8688328" y="517021"/>
                      <a:pt x="8690609" y="515504"/>
                      <a:pt x="8692661" y="513709"/>
                    </a:cubicBezTo>
                    <a:lnTo>
                      <a:pt x="8910040" y="705317"/>
                    </a:lnTo>
                    <a:cubicBezTo>
                      <a:pt x="8900030" y="719268"/>
                      <a:pt x="8903225" y="738692"/>
                      <a:pt x="8917176" y="748702"/>
                    </a:cubicBezTo>
                    <a:cubicBezTo>
                      <a:pt x="8920195" y="750868"/>
                      <a:pt x="8923578" y="752476"/>
                      <a:pt x="8927164" y="753448"/>
                    </a:cubicBezTo>
                    <a:lnTo>
                      <a:pt x="8870887" y="1032589"/>
                    </a:lnTo>
                    <a:cubicBezTo>
                      <a:pt x="8851084" y="1030848"/>
                      <a:pt x="8833620" y="1045490"/>
                      <a:pt x="8831878" y="1065292"/>
                    </a:cubicBezTo>
                    <a:cubicBezTo>
                      <a:pt x="8831549" y="1069039"/>
                      <a:pt x="8831809" y="1072814"/>
                      <a:pt x="8832648" y="1076481"/>
                    </a:cubicBezTo>
                    <a:lnTo>
                      <a:pt x="8560407" y="1167921"/>
                    </a:lnTo>
                    <a:cubicBezTo>
                      <a:pt x="8553014" y="1155438"/>
                      <a:pt x="8538020" y="1149660"/>
                      <a:pt x="8524163" y="1153955"/>
                    </a:cubicBezTo>
                    <a:cubicBezTo>
                      <a:pt x="8520974" y="1155035"/>
                      <a:pt x="8517973" y="1156605"/>
                      <a:pt x="8515269" y="1158610"/>
                    </a:cubicBezTo>
                    <a:lnTo>
                      <a:pt x="8300551" y="969496"/>
                    </a:lnTo>
                    <a:cubicBezTo>
                      <a:pt x="8312488" y="951963"/>
                      <a:pt x="8307951" y="928074"/>
                      <a:pt x="8290419" y="916137"/>
                    </a:cubicBezTo>
                    <a:cubicBezTo>
                      <a:pt x="8287368" y="914059"/>
                      <a:pt x="8284033" y="912432"/>
                      <a:pt x="8280517" y="911307"/>
                    </a:cubicBezTo>
                    <a:close/>
                    <a:moveTo>
                      <a:pt x="7294212" y="1303169"/>
                    </a:moveTo>
                    <a:cubicBezTo>
                      <a:pt x="7304677" y="1289498"/>
                      <a:pt x="7302077" y="1269932"/>
                      <a:pt x="7288406" y="1259468"/>
                    </a:cubicBezTo>
                    <a:cubicBezTo>
                      <a:pt x="7285343" y="1257123"/>
                      <a:pt x="7281872" y="1255368"/>
                      <a:pt x="7278169" y="1254290"/>
                    </a:cubicBezTo>
                    <a:lnTo>
                      <a:pt x="7333947" y="977892"/>
                    </a:lnTo>
                    <a:cubicBezTo>
                      <a:pt x="7339314" y="978499"/>
                      <a:pt x="7344748" y="977990"/>
                      <a:pt x="7349908" y="976396"/>
                    </a:cubicBezTo>
                    <a:cubicBezTo>
                      <a:pt x="7369023" y="970292"/>
                      <a:pt x="7380290" y="950576"/>
                      <a:pt x="7375843" y="931008"/>
                    </a:cubicBezTo>
                    <a:lnTo>
                      <a:pt x="7643347" y="840649"/>
                    </a:lnTo>
                    <a:cubicBezTo>
                      <a:pt x="7649618" y="855347"/>
                      <a:pt x="7665990" y="862922"/>
                      <a:pt x="7681253" y="858188"/>
                    </a:cubicBezTo>
                    <a:cubicBezTo>
                      <a:pt x="7685687" y="856738"/>
                      <a:pt x="7689747" y="854325"/>
                      <a:pt x="7693140" y="851123"/>
                    </a:cubicBezTo>
                    <a:lnTo>
                      <a:pt x="7897051" y="1030844"/>
                    </a:lnTo>
                    <a:cubicBezTo>
                      <a:pt x="7880129" y="1052579"/>
                      <a:pt x="7884029" y="1083917"/>
                      <a:pt x="7905764" y="1100839"/>
                    </a:cubicBezTo>
                    <a:cubicBezTo>
                      <a:pt x="7910610" y="1104612"/>
                      <a:pt x="7916110" y="1107458"/>
                      <a:pt x="7921990" y="1109233"/>
                    </a:cubicBezTo>
                    <a:lnTo>
                      <a:pt x="7870201" y="1366345"/>
                    </a:lnTo>
                    <a:cubicBezTo>
                      <a:pt x="7864993" y="1365801"/>
                      <a:pt x="7859729" y="1366339"/>
                      <a:pt x="7854739" y="1367925"/>
                    </a:cubicBezTo>
                    <a:cubicBezTo>
                      <a:pt x="7835246" y="1374153"/>
                      <a:pt x="7823959" y="1394469"/>
                      <a:pt x="7828970" y="1414310"/>
                    </a:cubicBezTo>
                    <a:lnTo>
                      <a:pt x="7561300" y="1504337"/>
                    </a:lnTo>
                    <a:cubicBezTo>
                      <a:pt x="7554539" y="1490587"/>
                      <a:pt x="7538769" y="1483813"/>
                      <a:pt x="7524143" y="1488376"/>
                    </a:cubicBezTo>
                    <a:cubicBezTo>
                      <a:pt x="7519852" y="1489766"/>
                      <a:pt x="7515911" y="1492062"/>
                      <a:pt x="7512588" y="1495110"/>
                    </a:cubicBezTo>
                    <a:close/>
                    <a:moveTo>
                      <a:pt x="7897217" y="1427860"/>
                    </a:moveTo>
                    <a:cubicBezTo>
                      <a:pt x="7909970" y="1410797"/>
                      <a:pt x="7906477" y="1386626"/>
                      <a:pt x="7889414" y="1373873"/>
                    </a:cubicBezTo>
                    <a:cubicBezTo>
                      <a:pt x="7886109" y="1371403"/>
                      <a:pt x="7882428" y="1369479"/>
                      <a:pt x="7878514" y="1368175"/>
                    </a:cubicBezTo>
                    <a:lnTo>
                      <a:pt x="7930385" y="1110978"/>
                    </a:lnTo>
                    <a:cubicBezTo>
                      <a:pt x="7937424" y="1111866"/>
                      <a:pt x="7944572" y="1111214"/>
                      <a:pt x="7951334" y="1109066"/>
                    </a:cubicBezTo>
                    <a:cubicBezTo>
                      <a:pt x="7977010" y="1101065"/>
                      <a:pt x="7991719" y="1074148"/>
                      <a:pt x="7984585" y="1048217"/>
                    </a:cubicBezTo>
                    <a:lnTo>
                      <a:pt x="8233966" y="964259"/>
                    </a:lnTo>
                    <a:cubicBezTo>
                      <a:pt x="8242682" y="983545"/>
                      <a:pt x="8265382" y="992114"/>
                      <a:pt x="8284669" y="983398"/>
                    </a:cubicBezTo>
                    <a:cubicBezTo>
                      <a:pt x="8288595" y="981624"/>
                      <a:pt x="8292194" y="979200"/>
                      <a:pt x="8295314" y="976229"/>
                    </a:cubicBezTo>
                    <a:lnTo>
                      <a:pt x="8509366" y="1164928"/>
                    </a:lnTo>
                    <a:cubicBezTo>
                      <a:pt x="8499049" y="1178596"/>
                      <a:pt x="8501765" y="1198039"/>
                      <a:pt x="8515432" y="1208356"/>
                    </a:cubicBezTo>
                    <a:cubicBezTo>
                      <a:pt x="8518147" y="1210406"/>
                      <a:pt x="8521181" y="1211995"/>
                      <a:pt x="8524412" y="1213059"/>
                    </a:cubicBezTo>
                    <a:lnTo>
                      <a:pt x="8471294" y="1476323"/>
                    </a:lnTo>
                    <a:cubicBezTo>
                      <a:pt x="8464413" y="1475547"/>
                      <a:pt x="8457446" y="1476227"/>
                      <a:pt x="8450844" y="1478318"/>
                    </a:cubicBezTo>
                    <a:cubicBezTo>
                      <a:pt x="8425534" y="1486313"/>
                      <a:pt x="8410920" y="1512729"/>
                      <a:pt x="8417594" y="1538419"/>
                    </a:cubicBezTo>
                    <a:lnTo>
                      <a:pt x="8158736" y="1625536"/>
                    </a:lnTo>
                    <a:cubicBezTo>
                      <a:pt x="8152408" y="1610992"/>
                      <a:pt x="8136125" y="1603568"/>
                      <a:pt x="8120996" y="1608329"/>
                    </a:cubicBezTo>
                    <a:cubicBezTo>
                      <a:pt x="8116814" y="1609712"/>
                      <a:pt x="8112965" y="1611949"/>
                      <a:pt x="8109691" y="1614896"/>
                    </a:cubicBezTo>
                    <a:close/>
                    <a:moveTo>
                      <a:pt x="8128727" y="1668929"/>
                    </a:moveTo>
                    <a:cubicBezTo>
                      <a:pt x="8132379" y="1669103"/>
                      <a:pt x="8136033" y="1668653"/>
                      <a:pt x="8139533" y="1667599"/>
                    </a:cubicBezTo>
                    <a:cubicBezTo>
                      <a:pt x="8154153" y="1662947"/>
                      <a:pt x="8163215" y="1648350"/>
                      <a:pt x="8160897" y="1633184"/>
                    </a:cubicBezTo>
                    <a:lnTo>
                      <a:pt x="8420088" y="1545984"/>
                    </a:lnTo>
                    <a:cubicBezTo>
                      <a:pt x="8430437" y="1569091"/>
                      <a:pt x="8456457" y="1580779"/>
                      <a:pt x="8480605" y="1573166"/>
                    </a:cubicBezTo>
                    <a:cubicBezTo>
                      <a:pt x="8487543" y="1571006"/>
                      <a:pt x="8493907" y="1567312"/>
                      <a:pt x="8499225" y="1562360"/>
                    </a:cubicBezTo>
                    <a:lnTo>
                      <a:pt x="8703635" y="1742580"/>
                    </a:lnTo>
                    <a:cubicBezTo>
                      <a:pt x="8694333" y="1756793"/>
                      <a:pt x="8698314" y="1775856"/>
                      <a:pt x="8712528" y="1785158"/>
                    </a:cubicBezTo>
                    <a:cubicBezTo>
                      <a:pt x="8714555" y="1786484"/>
                      <a:pt x="8716732" y="1787567"/>
                      <a:pt x="8719014" y="1788383"/>
                    </a:cubicBezTo>
                    <a:lnTo>
                      <a:pt x="8665147" y="2055720"/>
                    </a:lnTo>
                    <a:cubicBezTo>
                      <a:pt x="8658375" y="2055028"/>
                      <a:pt x="8651534" y="2055707"/>
                      <a:pt x="8645030" y="2057715"/>
                    </a:cubicBezTo>
                    <a:cubicBezTo>
                      <a:pt x="8619921" y="2065704"/>
                      <a:pt x="8605357" y="2091846"/>
                      <a:pt x="8611779" y="2117400"/>
                    </a:cubicBezTo>
                    <a:lnTo>
                      <a:pt x="8371541" y="2198283"/>
                    </a:lnTo>
                    <a:cubicBezTo>
                      <a:pt x="8359964" y="2173288"/>
                      <a:pt x="8330317" y="2162411"/>
                      <a:pt x="8305322" y="2173989"/>
                    </a:cubicBezTo>
                    <a:cubicBezTo>
                      <a:pt x="8300659" y="2176148"/>
                      <a:pt x="8296358" y="2179016"/>
                      <a:pt x="8292571" y="2182489"/>
                    </a:cubicBezTo>
                    <a:lnTo>
                      <a:pt x="8101378" y="2014156"/>
                    </a:lnTo>
                    <a:cubicBezTo>
                      <a:pt x="8117422" y="1991766"/>
                      <a:pt x="8112278" y="1960608"/>
                      <a:pt x="8089887" y="1944563"/>
                    </a:cubicBezTo>
                    <a:cubicBezTo>
                      <a:pt x="8085184" y="1941193"/>
                      <a:pt x="8079931" y="1938666"/>
                      <a:pt x="8074361" y="1937097"/>
                    </a:cubicBezTo>
                    <a:close/>
                    <a:moveTo>
                      <a:pt x="7123136" y="2025545"/>
                    </a:moveTo>
                    <a:cubicBezTo>
                      <a:pt x="7150518" y="2028542"/>
                      <a:pt x="7175146" y="2008774"/>
                      <a:pt x="7178143" y="1981391"/>
                    </a:cubicBezTo>
                    <a:cubicBezTo>
                      <a:pt x="7178751" y="1975838"/>
                      <a:pt x="7178422" y="1970223"/>
                      <a:pt x="7177169" y="1964779"/>
                    </a:cubicBezTo>
                    <a:lnTo>
                      <a:pt x="7429544" y="1879740"/>
                    </a:lnTo>
                    <a:cubicBezTo>
                      <a:pt x="7437694" y="1899421"/>
                      <a:pt x="7460256" y="1908769"/>
                      <a:pt x="7479938" y="1900618"/>
                    </a:cubicBezTo>
                    <a:cubicBezTo>
                      <a:pt x="7483847" y="1898999"/>
                      <a:pt x="7487464" y="1896748"/>
                      <a:pt x="7490642" y="1893955"/>
                    </a:cubicBezTo>
                    <a:lnTo>
                      <a:pt x="7696548" y="2075421"/>
                    </a:lnTo>
                    <a:cubicBezTo>
                      <a:pt x="7683722" y="2092429"/>
                      <a:pt x="7687111" y="2116615"/>
                      <a:pt x="7704119" y="2129441"/>
                    </a:cubicBezTo>
                    <a:cubicBezTo>
                      <a:pt x="7707486" y="2131981"/>
                      <a:pt x="7711247" y="2133951"/>
                      <a:pt x="7715252" y="2135273"/>
                    </a:cubicBezTo>
                    <a:lnTo>
                      <a:pt x="7660055" y="2409593"/>
                    </a:lnTo>
                    <a:cubicBezTo>
                      <a:pt x="7656870" y="2409573"/>
                      <a:pt x="7653701" y="2410050"/>
                      <a:pt x="7650662" y="2411006"/>
                    </a:cubicBezTo>
                    <a:cubicBezTo>
                      <a:pt x="7634605" y="2416206"/>
                      <a:pt x="7624990" y="2432611"/>
                      <a:pt x="7628301" y="2449161"/>
                    </a:cubicBezTo>
                    <a:lnTo>
                      <a:pt x="7369027" y="2536445"/>
                    </a:lnTo>
                    <a:cubicBezTo>
                      <a:pt x="7358941" y="2510812"/>
                      <a:pt x="7329985" y="2498209"/>
                      <a:pt x="7304352" y="2508295"/>
                    </a:cubicBezTo>
                    <a:cubicBezTo>
                      <a:pt x="7298292" y="2510679"/>
                      <a:pt x="7292758" y="2514227"/>
                      <a:pt x="7288061" y="2518739"/>
                    </a:cubicBezTo>
                    <a:lnTo>
                      <a:pt x="7082487" y="2337522"/>
                    </a:lnTo>
                    <a:cubicBezTo>
                      <a:pt x="7091961" y="2324828"/>
                      <a:pt x="7089350" y="2306858"/>
                      <a:pt x="7076657" y="2297385"/>
                    </a:cubicBezTo>
                    <a:cubicBezTo>
                      <a:pt x="7074451" y="2295738"/>
                      <a:pt x="7072019" y="2294418"/>
                      <a:pt x="7069436" y="2293464"/>
                    </a:cubicBezTo>
                    <a:close/>
                    <a:moveTo>
                      <a:pt x="6721382" y="2469112"/>
                    </a:moveTo>
                    <a:cubicBezTo>
                      <a:pt x="6739710" y="2470264"/>
                      <a:pt x="6755501" y="2456340"/>
                      <a:pt x="6756654" y="2438012"/>
                    </a:cubicBezTo>
                    <a:cubicBezTo>
                      <a:pt x="6756846" y="2434950"/>
                      <a:pt x="6756614" y="2431876"/>
                      <a:pt x="6755964" y="2428878"/>
                    </a:cubicBezTo>
                    <a:lnTo>
                      <a:pt x="7033941" y="2335360"/>
                    </a:lnTo>
                    <a:cubicBezTo>
                      <a:pt x="7042242" y="2348957"/>
                      <a:pt x="7059994" y="2353250"/>
                      <a:pt x="7073591" y="2344948"/>
                    </a:cubicBezTo>
                    <a:cubicBezTo>
                      <a:pt x="7074246" y="2344549"/>
                      <a:pt x="7074884" y="2344123"/>
                      <a:pt x="7075504" y="2343673"/>
                    </a:cubicBezTo>
                    <a:lnTo>
                      <a:pt x="7281577" y="2525306"/>
                    </a:lnTo>
                    <a:cubicBezTo>
                      <a:pt x="7265547" y="2547707"/>
                      <a:pt x="7270712" y="2578862"/>
                      <a:pt x="7293113" y="2594892"/>
                    </a:cubicBezTo>
                    <a:cubicBezTo>
                      <a:pt x="7297922" y="2598333"/>
                      <a:pt x="7303304" y="2600892"/>
                      <a:pt x="7309009" y="2602448"/>
                    </a:cubicBezTo>
                    <a:lnTo>
                      <a:pt x="7256555" y="2862969"/>
                    </a:lnTo>
                    <a:cubicBezTo>
                      <a:pt x="7251452" y="2862537"/>
                      <a:pt x="7246314" y="2863102"/>
                      <a:pt x="7241426" y="2864632"/>
                    </a:cubicBezTo>
                    <a:cubicBezTo>
                      <a:pt x="7222337" y="2870769"/>
                      <a:pt x="7211086" y="2890458"/>
                      <a:pt x="7215490" y="2910020"/>
                    </a:cubicBezTo>
                    <a:lnTo>
                      <a:pt x="6946740" y="3000628"/>
                    </a:lnTo>
                    <a:cubicBezTo>
                      <a:pt x="6939942" y="2986826"/>
                      <a:pt x="6924091" y="2980048"/>
                      <a:pt x="6909416" y="2984668"/>
                    </a:cubicBezTo>
                    <a:cubicBezTo>
                      <a:pt x="6905664" y="2985867"/>
                      <a:pt x="6902168" y="2987756"/>
                      <a:pt x="6899109" y="2990237"/>
                    </a:cubicBezTo>
                    <a:lnTo>
                      <a:pt x="6690292" y="2806193"/>
                    </a:lnTo>
                    <a:cubicBezTo>
                      <a:pt x="6704537" y="2786750"/>
                      <a:pt x="6700324" y="2759441"/>
                      <a:pt x="6680881" y="2745196"/>
                    </a:cubicBezTo>
                    <a:cubicBezTo>
                      <a:pt x="6676722" y="2742150"/>
                      <a:pt x="6672057" y="2739863"/>
                      <a:pt x="6667100" y="2738445"/>
                    </a:cubicBezTo>
                    <a:close/>
                    <a:moveTo>
                      <a:pt x="6290866" y="2871781"/>
                    </a:moveTo>
                    <a:cubicBezTo>
                      <a:pt x="6280761" y="2890430"/>
                      <a:pt x="6287687" y="2913739"/>
                      <a:pt x="6306336" y="2923843"/>
                    </a:cubicBezTo>
                    <a:cubicBezTo>
                      <a:pt x="6307574" y="2924514"/>
                      <a:pt x="6308848" y="2925116"/>
                      <a:pt x="6310152" y="2925647"/>
                    </a:cubicBezTo>
                    <a:lnTo>
                      <a:pt x="6255870" y="3194813"/>
                    </a:lnTo>
                    <a:cubicBezTo>
                      <a:pt x="6231917" y="3192578"/>
                      <a:pt x="6210688" y="3210183"/>
                      <a:pt x="6208452" y="3234136"/>
                    </a:cubicBezTo>
                    <a:cubicBezTo>
                      <a:pt x="6207994" y="3239040"/>
                      <a:pt x="6208372" y="3243985"/>
                      <a:pt x="6209568" y="3248763"/>
                    </a:cubicBezTo>
                    <a:lnTo>
                      <a:pt x="5954533" y="3334467"/>
                    </a:lnTo>
                    <a:cubicBezTo>
                      <a:pt x="5947094" y="3315644"/>
                      <a:pt x="5926371" y="3305772"/>
                      <a:pt x="5907067" y="3311857"/>
                    </a:cubicBezTo>
                    <a:cubicBezTo>
                      <a:pt x="5900731" y="3313847"/>
                      <a:pt x="5895008" y="3317424"/>
                      <a:pt x="5890442" y="3322247"/>
                    </a:cubicBezTo>
                    <a:lnTo>
                      <a:pt x="5684868" y="3141030"/>
                    </a:lnTo>
                    <a:cubicBezTo>
                      <a:pt x="5697963" y="3124111"/>
                      <a:pt x="5694863" y="3099781"/>
                      <a:pt x="5677944" y="3086686"/>
                    </a:cubicBezTo>
                    <a:cubicBezTo>
                      <a:pt x="5673991" y="3083626"/>
                      <a:pt x="5669483" y="3081361"/>
                      <a:pt x="5664669" y="3080014"/>
                    </a:cubicBezTo>
                    <a:lnTo>
                      <a:pt x="5716789" y="2821572"/>
                    </a:lnTo>
                    <a:cubicBezTo>
                      <a:pt x="5743984" y="2825955"/>
                      <a:pt x="5769583" y="2807463"/>
                      <a:pt x="5773967" y="2780268"/>
                    </a:cubicBezTo>
                    <a:cubicBezTo>
                      <a:pt x="5775070" y="2773426"/>
                      <a:pt x="5774735" y="2766430"/>
                      <a:pt x="5772983" y="2759725"/>
                    </a:cubicBezTo>
                    <a:lnTo>
                      <a:pt x="6027851" y="2673937"/>
                    </a:lnTo>
                    <a:cubicBezTo>
                      <a:pt x="6034544" y="2689600"/>
                      <a:pt x="6052667" y="2696871"/>
                      <a:pt x="6068329" y="2690178"/>
                    </a:cubicBezTo>
                    <a:cubicBezTo>
                      <a:pt x="6071821" y="2688686"/>
                      <a:pt x="6075007" y="2686562"/>
                      <a:pt x="6077728" y="2683913"/>
                    </a:cubicBezTo>
                    <a:close/>
                    <a:moveTo>
                      <a:pt x="6893539" y="1367177"/>
                    </a:moveTo>
                    <a:cubicBezTo>
                      <a:pt x="6876648" y="1388937"/>
                      <a:pt x="6880596" y="1420269"/>
                      <a:pt x="6902356" y="1437159"/>
                    </a:cubicBezTo>
                    <a:cubicBezTo>
                      <a:pt x="6907565" y="1441203"/>
                      <a:pt x="6913525" y="1444173"/>
                      <a:pt x="6919890" y="1445898"/>
                    </a:cubicBezTo>
                    <a:lnTo>
                      <a:pt x="6867853" y="1704092"/>
                    </a:lnTo>
                    <a:cubicBezTo>
                      <a:pt x="6846732" y="1702138"/>
                      <a:pt x="6828027" y="1717676"/>
                      <a:pt x="6826074" y="1738796"/>
                    </a:cubicBezTo>
                    <a:cubicBezTo>
                      <a:pt x="6825689" y="1742959"/>
                      <a:pt x="6825986" y="1747157"/>
                      <a:pt x="6826954" y="1751225"/>
                    </a:cubicBezTo>
                    <a:lnTo>
                      <a:pt x="6558702" y="1841501"/>
                    </a:lnTo>
                    <a:cubicBezTo>
                      <a:pt x="6551925" y="1825979"/>
                      <a:pt x="6534563" y="1818032"/>
                      <a:pt x="6518386" y="1823047"/>
                    </a:cubicBezTo>
                    <a:cubicBezTo>
                      <a:pt x="6514086" y="1824447"/>
                      <a:pt x="6510103" y="1826678"/>
                      <a:pt x="6506665" y="1829614"/>
                    </a:cubicBezTo>
                    <a:lnTo>
                      <a:pt x="6299761" y="1647149"/>
                    </a:lnTo>
                    <a:cubicBezTo>
                      <a:pt x="6313689" y="1627591"/>
                      <a:pt x="6309125" y="1600445"/>
                      <a:pt x="6289567" y="1586517"/>
                    </a:cubicBezTo>
                    <a:cubicBezTo>
                      <a:pt x="6286021" y="1583991"/>
                      <a:pt x="6282115" y="1582013"/>
                      <a:pt x="6277981" y="1580648"/>
                    </a:cubicBezTo>
                    <a:lnTo>
                      <a:pt x="6333095" y="1307242"/>
                    </a:lnTo>
                    <a:cubicBezTo>
                      <a:pt x="6350025" y="1307856"/>
                      <a:pt x="6364246" y="1294629"/>
                      <a:pt x="6364860" y="1277699"/>
                    </a:cubicBezTo>
                    <a:cubicBezTo>
                      <a:pt x="6364942" y="1275426"/>
                      <a:pt x="6364771" y="1273151"/>
                      <a:pt x="6364351" y="1270916"/>
                    </a:cubicBezTo>
                    <a:lnTo>
                      <a:pt x="6643076" y="1177065"/>
                    </a:lnTo>
                    <a:cubicBezTo>
                      <a:pt x="6649178" y="1190254"/>
                      <a:pt x="6664140" y="1196844"/>
                      <a:pt x="6677990" y="1192443"/>
                    </a:cubicBezTo>
                    <a:cubicBezTo>
                      <a:pt x="6681907" y="1191209"/>
                      <a:pt x="6685509" y="1189139"/>
                      <a:pt x="6688547" y="1186375"/>
                    </a:cubicBezTo>
                    <a:close/>
                    <a:moveTo>
                      <a:pt x="5732833" y="1192610"/>
                    </a:moveTo>
                    <a:cubicBezTo>
                      <a:pt x="5737623" y="1193099"/>
                      <a:pt x="5742463" y="1192589"/>
                      <a:pt x="5747047" y="1191113"/>
                    </a:cubicBezTo>
                    <a:cubicBezTo>
                      <a:pt x="5765110" y="1185433"/>
                      <a:pt x="5775634" y="1166679"/>
                      <a:pt x="5771071" y="1148303"/>
                    </a:cubicBezTo>
                    <a:lnTo>
                      <a:pt x="6029181" y="1061435"/>
                    </a:lnTo>
                    <a:cubicBezTo>
                      <a:pt x="6038570" y="1083684"/>
                      <a:pt x="6064217" y="1094109"/>
                      <a:pt x="6086466" y="1084721"/>
                    </a:cubicBezTo>
                    <a:cubicBezTo>
                      <a:pt x="6091719" y="1082504"/>
                      <a:pt x="6096488" y="1079281"/>
                      <a:pt x="6100505" y="1075234"/>
                    </a:cubicBezTo>
                    <a:lnTo>
                      <a:pt x="6308323" y="1258529"/>
                    </a:lnTo>
                    <a:cubicBezTo>
                      <a:pt x="6298490" y="1272549"/>
                      <a:pt x="6301883" y="1291886"/>
                      <a:pt x="6315902" y="1301719"/>
                    </a:cubicBezTo>
                    <a:cubicBezTo>
                      <a:pt x="6318661" y="1303654"/>
                      <a:pt x="6321716" y="1305126"/>
                      <a:pt x="6324948" y="1306078"/>
                    </a:cubicBezTo>
                    <a:lnTo>
                      <a:pt x="6269918" y="1578819"/>
                    </a:lnTo>
                    <a:cubicBezTo>
                      <a:pt x="6246240" y="1575430"/>
                      <a:pt x="6224299" y="1591878"/>
                      <a:pt x="6220910" y="1615556"/>
                    </a:cubicBezTo>
                    <a:cubicBezTo>
                      <a:pt x="6220096" y="1621245"/>
                      <a:pt x="6220423" y="1627040"/>
                      <a:pt x="6221870" y="1632602"/>
                    </a:cubicBezTo>
                    <a:lnTo>
                      <a:pt x="5957858" y="1721798"/>
                    </a:lnTo>
                    <a:cubicBezTo>
                      <a:pt x="5950654" y="1706364"/>
                      <a:pt x="5932302" y="1699692"/>
                      <a:pt x="5916868" y="1706896"/>
                    </a:cubicBezTo>
                    <a:cubicBezTo>
                      <a:pt x="5914418" y="1708039"/>
                      <a:pt x="5912129" y="1709500"/>
                      <a:pt x="5910060" y="1711240"/>
                    </a:cubicBezTo>
                    <a:lnTo>
                      <a:pt x="5701078" y="1527031"/>
                    </a:lnTo>
                    <a:cubicBezTo>
                      <a:pt x="5715528" y="1507797"/>
                      <a:pt x="5711649" y="1480491"/>
                      <a:pt x="5692416" y="1466041"/>
                    </a:cubicBezTo>
                    <a:cubicBezTo>
                      <a:pt x="5688435" y="1463050"/>
                      <a:pt x="5683970" y="1460764"/>
                      <a:pt x="5679215" y="1459282"/>
                    </a:cubicBezTo>
                    <a:close/>
                    <a:moveTo>
                      <a:pt x="5327421" y="1654548"/>
                    </a:moveTo>
                    <a:cubicBezTo>
                      <a:pt x="5333000" y="1655267"/>
                      <a:pt x="5338669" y="1654785"/>
                      <a:pt x="5344047" y="1653135"/>
                    </a:cubicBezTo>
                    <a:cubicBezTo>
                      <a:pt x="5363760" y="1646829"/>
                      <a:pt x="5375060" y="1626167"/>
                      <a:pt x="5369733" y="1606168"/>
                    </a:cubicBezTo>
                    <a:lnTo>
                      <a:pt x="5626845" y="1519632"/>
                    </a:lnTo>
                    <a:cubicBezTo>
                      <a:pt x="5636149" y="1539399"/>
                      <a:pt x="5658615" y="1549266"/>
                      <a:pt x="5679465" y="1542742"/>
                    </a:cubicBezTo>
                    <a:cubicBezTo>
                      <a:pt x="5685330" y="1540818"/>
                      <a:pt x="5690735" y="1537705"/>
                      <a:pt x="5695342" y="1533597"/>
                    </a:cubicBezTo>
                    <a:lnTo>
                      <a:pt x="5904324" y="1717891"/>
                    </a:lnTo>
                    <a:cubicBezTo>
                      <a:pt x="5894724" y="1732015"/>
                      <a:pt x="5898391" y="1751248"/>
                      <a:pt x="5912516" y="1760849"/>
                    </a:cubicBezTo>
                    <a:cubicBezTo>
                      <a:pt x="5914938" y="1762495"/>
                      <a:pt x="5917582" y="1763789"/>
                      <a:pt x="5920368" y="1764691"/>
                    </a:cubicBezTo>
                    <a:lnTo>
                      <a:pt x="5864423" y="2041422"/>
                    </a:lnTo>
                    <a:cubicBezTo>
                      <a:pt x="5843482" y="2038056"/>
                      <a:pt x="5823776" y="2052302"/>
                      <a:pt x="5820409" y="2073244"/>
                    </a:cubicBezTo>
                    <a:cubicBezTo>
                      <a:pt x="5819507" y="2078854"/>
                      <a:pt x="5819861" y="2084595"/>
                      <a:pt x="5821447" y="2090052"/>
                    </a:cubicBezTo>
                    <a:lnTo>
                      <a:pt x="5554940" y="2179663"/>
                    </a:lnTo>
                    <a:cubicBezTo>
                      <a:pt x="5548412" y="2165427"/>
                      <a:pt x="5532293" y="2158295"/>
                      <a:pt x="5517367" y="2163037"/>
                    </a:cubicBezTo>
                    <a:cubicBezTo>
                      <a:pt x="5513206" y="2164331"/>
                      <a:pt x="5509376" y="2166515"/>
                      <a:pt x="5506145" y="2169438"/>
                    </a:cubicBezTo>
                    <a:lnTo>
                      <a:pt x="5303646" y="1990881"/>
                    </a:lnTo>
                    <a:cubicBezTo>
                      <a:pt x="5319243" y="1968175"/>
                      <a:pt x="5313480" y="1937126"/>
                      <a:pt x="5290775" y="1921529"/>
                    </a:cubicBezTo>
                    <a:cubicBezTo>
                      <a:pt x="5286038" y="1918275"/>
                      <a:pt x="5280775" y="1915865"/>
                      <a:pt x="5275217" y="1914404"/>
                    </a:cubicBezTo>
                    <a:close/>
                    <a:moveTo>
                      <a:pt x="3507599" y="1628529"/>
                    </a:moveTo>
                    <a:cubicBezTo>
                      <a:pt x="3523752" y="1606216"/>
                      <a:pt x="3518758" y="1575034"/>
                      <a:pt x="3496445" y="1558880"/>
                    </a:cubicBezTo>
                    <a:cubicBezTo>
                      <a:pt x="3491465" y="1555275"/>
                      <a:pt x="3485862" y="1552622"/>
                      <a:pt x="3479917" y="1551054"/>
                    </a:cubicBezTo>
                    <a:lnTo>
                      <a:pt x="3531706" y="1294274"/>
                    </a:lnTo>
                    <a:cubicBezTo>
                      <a:pt x="3555276" y="1298606"/>
                      <a:pt x="3577895" y="1283009"/>
                      <a:pt x="3582226" y="1259439"/>
                    </a:cubicBezTo>
                    <a:cubicBezTo>
                      <a:pt x="3583362" y="1253260"/>
                      <a:pt x="3583142" y="1246909"/>
                      <a:pt x="3581582" y="1240823"/>
                    </a:cubicBezTo>
                    <a:lnTo>
                      <a:pt x="3840773" y="1153623"/>
                    </a:lnTo>
                    <a:cubicBezTo>
                      <a:pt x="3848583" y="1170243"/>
                      <a:pt x="3868389" y="1177384"/>
                      <a:pt x="3885009" y="1169574"/>
                    </a:cubicBezTo>
                    <a:cubicBezTo>
                      <a:pt x="3887736" y="1168292"/>
                      <a:pt x="3890277" y="1166645"/>
                      <a:pt x="3892561" y="1164679"/>
                    </a:cubicBezTo>
                    <a:lnTo>
                      <a:pt x="4093812" y="1341490"/>
                    </a:lnTo>
                    <a:cubicBezTo>
                      <a:pt x="4077370" y="1363591"/>
                      <a:pt x="4081958" y="1394836"/>
                      <a:pt x="4104058" y="1411278"/>
                    </a:cubicBezTo>
                    <a:cubicBezTo>
                      <a:pt x="4109320" y="1415192"/>
                      <a:pt x="4115301" y="1418030"/>
                      <a:pt x="4121660" y="1419630"/>
                    </a:cubicBezTo>
                    <a:lnTo>
                      <a:pt x="4067627" y="1687633"/>
                    </a:lnTo>
                    <a:cubicBezTo>
                      <a:pt x="4064503" y="1687625"/>
                      <a:pt x="4061395" y="1688073"/>
                      <a:pt x="4058400" y="1688963"/>
                    </a:cubicBezTo>
                    <a:cubicBezTo>
                      <a:pt x="4043317" y="1693737"/>
                      <a:pt x="4033687" y="1708478"/>
                      <a:pt x="4035374" y="1724209"/>
                    </a:cubicBezTo>
                    <a:lnTo>
                      <a:pt x="3763547" y="1815649"/>
                    </a:lnTo>
                    <a:cubicBezTo>
                      <a:pt x="3754863" y="1799000"/>
                      <a:pt x="3735490" y="1790978"/>
                      <a:pt x="3717578" y="1796612"/>
                    </a:cubicBezTo>
                    <a:cubicBezTo>
                      <a:pt x="3713348" y="1798015"/>
                      <a:pt x="3709385" y="1800123"/>
                      <a:pt x="3705857" y="1802847"/>
                    </a:cubicBezTo>
                    <a:close/>
                    <a:moveTo>
                      <a:pt x="3695965" y="2202107"/>
                    </a:moveTo>
                    <a:cubicBezTo>
                      <a:pt x="3710315" y="2182799"/>
                      <a:pt x="3706296" y="2155514"/>
                      <a:pt x="3686988" y="2141164"/>
                    </a:cubicBezTo>
                    <a:cubicBezTo>
                      <a:pt x="3683113" y="2138284"/>
                      <a:pt x="3678787" y="2136069"/>
                      <a:pt x="3674186" y="2134608"/>
                    </a:cubicBezTo>
                    <a:lnTo>
                      <a:pt x="3726971" y="1872757"/>
                    </a:lnTo>
                    <a:cubicBezTo>
                      <a:pt x="3731553" y="1873068"/>
                      <a:pt x="3736151" y="1872504"/>
                      <a:pt x="3740521" y="1871094"/>
                    </a:cubicBezTo>
                    <a:cubicBezTo>
                      <a:pt x="3760371" y="1864860"/>
                      <a:pt x="3771699" y="1844006"/>
                      <a:pt x="3766124" y="1823961"/>
                    </a:cubicBezTo>
                    <a:lnTo>
                      <a:pt x="4036953" y="1732521"/>
                    </a:lnTo>
                    <a:cubicBezTo>
                      <a:pt x="4043159" y="1749036"/>
                      <a:pt x="4061183" y="1757829"/>
                      <a:pt x="4078018" y="1752555"/>
                    </a:cubicBezTo>
                    <a:cubicBezTo>
                      <a:pt x="4082440" y="1751143"/>
                      <a:pt x="4086518" y="1748821"/>
                      <a:pt x="4089988" y="1745738"/>
                    </a:cubicBezTo>
                    <a:lnTo>
                      <a:pt x="4297391" y="1928618"/>
                    </a:lnTo>
                    <a:cubicBezTo>
                      <a:pt x="4284561" y="1945681"/>
                      <a:pt x="4287991" y="1969914"/>
                      <a:pt x="4305054" y="1982744"/>
                    </a:cubicBezTo>
                    <a:cubicBezTo>
                      <a:pt x="4308956" y="1985679"/>
                      <a:pt x="4313380" y="1987847"/>
                      <a:pt x="4318090" y="1989135"/>
                    </a:cubicBezTo>
                    <a:lnTo>
                      <a:pt x="4263808" y="2258301"/>
                    </a:lnTo>
                    <a:cubicBezTo>
                      <a:pt x="4242598" y="2256899"/>
                      <a:pt x="4224267" y="2272957"/>
                      <a:pt x="4222865" y="2294167"/>
                    </a:cubicBezTo>
                    <a:cubicBezTo>
                      <a:pt x="4222612" y="2298005"/>
                      <a:pt x="4222935" y="2301859"/>
                      <a:pt x="4223823" y="2305601"/>
                    </a:cubicBezTo>
                    <a:lnTo>
                      <a:pt x="3955156" y="2396043"/>
                    </a:lnTo>
                    <a:cubicBezTo>
                      <a:pt x="3948435" y="2380416"/>
                      <a:pt x="3931003" y="2372381"/>
                      <a:pt x="3914756" y="2377423"/>
                    </a:cubicBezTo>
                    <a:cubicBezTo>
                      <a:pt x="3910358" y="2378889"/>
                      <a:pt x="3906291" y="2381205"/>
                      <a:pt x="3902786" y="2384239"/>
                    </a:cubicBezTo>
                    <a:close/>
                    <a:moveTo>
                      <a:pt x="4292154" y="2320314"/>
                    </a:moveTo>
                    <a:cubicBezTo>
                      <a:pt x="4305241" y="2303448"/>
                      <a:pt x="4302178" y="2279166"/>
                      <a:pt x="4285312" y="2266079"/>
                    </a:cubicBezTo>
                    <a:cubicBezTo>
                      <a:pt x="4281430" y="2263066"/>
                      <a:pt x="4277009" y="2260822"/>
                      <a:pt x="4272286" y="2259465"/>
                    </a:cubicBezTo>
                    <a:lnTo>
                      <a:pt x="4326569" y="1990133"/>
                    </a:lnTo>
                    <a:cubicBezTo>
                      <a:pt x="4331149" y="1990434"/>
                      <a:pt x="4335746" y="1989870"/>
                      <a:pt x="4340118" y="1988470"/>
                    </a:cubicBezTo>
                    <a:cubicBezTo>
                      <a:pt x="4358956" y="1982457"/>
                      <a:pt x="4370219" y="1963196"/>
                      <a:pt x="4366221" y="1943831"/>
                    </a:cubicBezTo>
                    <a:lnTo>
                      <a:pt x="4625827" y="1856464"/>
                    </a:lnTo>
                    <a:cubicBezTo>
                      <a:pt x="4634508" y="1877310"/>
                      <a:pt x="4657635" y="1888117"/>
                      <a:pt x="4679195" y="1881402"/>
                    </a:cubicBezTo>
                    <a:cubicBezTo>
                      <a:pt x="4685118" y="1879515"/>
                      <a:pt x="4690564" y="1876367"/>
                      <a:pt x="4695155" y="1872175"/>
                    </a:cubicBezTo>
                    <a:lnTo>
                      <a:pt x="4893497" y="2046742"/>
                    </a:lnTo>
                    <a:cubicBezTo>
                      <a:pt x="4878174" y="2065466"/>
                      <a:pt x="4880932" y="2093067"/>
                      <a:pt x="4899656" y="2108389"/>
                    </a:cubicBezTo>
                    <a:cubicBezTo>
                      <a:pt x="4904163" y="2112078"/>
                      <a:pt x="4909360" y="2114830"/>
                      <a:pt x="4914943" y="2116486"/>
                    </a:cubicBezTo>
                    <a:lnTo>
                      <a:pt x="4861077" y="2384156"/>
                    </a:lnTo>
                    <a:cubicBezTo>
                      <a:pt x="4857177" y="2383899"/>
                      <a:pt x="4853262" y="2384350"/>
                      <a:pt x="4849522" y="2385486"/>
                    </a:cubicBezTo>
                    <a:cubicBezTo>
                      <a:pt x="4833195" y="2390743"/>
                      <a:pt x="4823545" y="2407557"/>
                      <a:pt x="4827244" y="2424306"/>
                    </a:cubicBezTo>
                    <a:lnTo>
                      <a:pt x="4560322" y="2514167"/>
                    </a:lnTo>
                    <a:cubicBezTo>
                      <a:pt x="4552470" y="2494513"/>
                      <a:pt x="4530171" y="2484947"/>
                      <a:pt x="4510518" y="2492799"/>
                    </a:cubicBezTo>
                    <a:cubicBezTo>
                      <a:pt x="4505696" y="2494726"/>
                      <a:pt x="4501317" y="2497612"/>
                      <a:pt x="4497644" y="2501282"/>
                    </a:cubicBezTo>
                    <a:close/>
                    <a:moveTo>
                      <a:pt x="4886182" y="2437357"/>
                    </a:moveTo>
                    <a:cubicBezTo>
                      <a:pt x="4897104" y="2422595"/>
                      <a:pt x="4893991" y="2401773"/>
                      <a:pt x="4879229" y="2390850"/>
                    </a:cubicBezTo>
                    <a:cubicBezTo>
                      <a:pt x="4876298" y="2388681"/>
                      <a:pt x="4873030" y="2387009"/>
                      <a:pt x="4869556" y="2385901"/>
                    </a:cubicBezTo>
                    <a:lnTo>
                      <a:pt x="4923506" y="2118315"/>
                    </a:lnTo>
                    <a:cubicBezTo>
                      <a:pt x="4947467" y="2120456"/>
                      <a:pt x="4968627" y="2102767"/>
                      <a:pt x="4970768" y="2078805"/>
                    </a:cubicBezTo>
                    <a:cubicBezTo>
                      <a:pt x="4971239" y="2073531"/>
                      <a:pt x="4970745" y="2068215"/>
                      <a:pt x="4969309" y="2063118"/>
                    </a:cubicBezTo>
                    <a:lnTo>
                      <a:pt x="5215698" y="1979991"/>
                    </a:lnTo>
                    <a:cubicBezTo>
                      <a:pt x="5225525" y="2005725"/>
                      <a:pt x="5254352" y="2018620"/>
                      <a:pt x="5280085" y="2008793"/>
                    </a:cubicBezTo>
                    <a:cubicBezTo>
                      <a:pt x="5286577" y="2006314"/>
                      <a:pt x="5292478" y="2002507"/>
                      <a:pt x="5297412" y="1997614"/>
                    </a:cubicBezTo>
                    <a:lnTo>
                      <a:pt x="5499910" y="2176172"/>
                    </a:lnTo>
                    <a:cubicBezTo>
                      <a:pt x="5490838" y="2190695"/>
                      <a:pt x="5495257" y="2209824"/>
                      <a:pt x="5509781" y="2218896"/>
                    </a:cubicBezTo>
                    <a:cubicBezTo>
                      <a:pt x="5511897" y="2220218"/>
                      <a:pt x="5514165" y="2221280"/>
                      <a:pt x="5516536" y="2222058"/>
                    </a:cubicBezTo>
                    <a:lnTo>
                      <a:pt x="5458347" y="2508764"/>
                    </a:lnTo>
                    <a:cubicBezTo>
                      <a:pt x="5454094" y="2508268"/>
                      <a:pt x="5449785" y="2508694"/>
                      <a:pt x="5445711" y="2510011"/>
                    </a:cubicBezTo>
                    <a:cubicBezTo>
                      <a:pt x="5430683" y="2514717"/>
                      <a:pt x="5421591" y="2529964"/>
                      <a:pt x="5424597" y="2545423"/>
                    </a:cubicBezTo>
                    <a:lnTo>
                      <a:pt x="5162580" y="2633621"/>
                    </a:lnTo>
                    <a:cubicBezTo>
                      <a:pt x="5153114" y="2614772"/>
                      <a:pt x="5131542" y="2605367"/>
                      <a:pt x="5111290" y="2611260"/>
                    </a:cubicBezTo>
                    <a:cubicBezTo>
                      <a:pt x="5105094" y="2613265"/>
                      <a:pt x="5099417" y="2616615"/>
                      <a:pt x="5094665" y="2621069"/>
                    </a:cubicBezTo>
                    <a:close/>
                    <a:moveTo>
                      <a:pt x="5118938" y="2696548"/>
                    </a:moveTo>
                    <a:cubicBezTo>
                      <a:pt x="5125321" y="2697462"/>
                      <a:pt x="5131829" y="2696922"/>
                      <a:pt x="5137974" y="2694969"/>
                    </a:cubicBezTo>
                    <a:cubicBezTo>
                      <a:pt x="5160414" y="2687827"/>
                      <a:pt x="5173167" y="2664196"/>
                      <a:pt x="5166819" y="2641518"/>
                    </a:cubicBezTo>
                    <a:lnTo>
                      <a:pt x="5428421" y="2553486"/>
                    </a:lnTo>
                    <a:cubicBezTo>
                      <a:pt x="5435085" y="2567253"/>
                      <a:pt x="5450773" y="2574128"/>
                      <a:pt x="5465412" y="2569696"/>
                    </a:cubicBezTo>
                    <a:cubicBezTo>
                      <a:pt x="5469997" y="2568195"/>
                      <a:pt x="5474177" y="2565664"/>
                      <a:pt x="5477632" y="2562298"/>
                    </a:cubicBezTo>
                    <a:lnTo>
                      <a:pt x="5683954" y="2744263"/>
                    </a:lnTo>
                    <a:cubicBezTo>
                      <a:pt x="5668294" y="2766925"/>
                      <a:pt x="5673970" y="2797991"/>
                      <a:pt x="5696632" y="2813651"/>
                    </a:cubicBezTo>
                    <a:cubicBezTo>
                      <a:pt x="5700414" y="2816264"/>
                      <a:pt x="5704540" y="2818343"/>
                      <a:pt x="5708892" y="2819826"/>
                    </a:cubicBezTo>
                    <a:lnTo>
                      <a:pt x="5656605" y="3078684"/>
                    </a:lnTo>
                    <a:cubicBezTo>
                      <a:pt x="5651915" y="3078379"/>
                      <a:pt x="5647208" y="3078942"/>
                      <a:pt x="5642723" y="3080347"/>
                    </a:cubicBezTo>
                    <a:cubicBezTo>
                      <a:pt x="5623491" y="3086457"/>
                      <a:pt x="5612195" y="3106334"/>
                      <a:pt x="5616787" y="3125984"/>
                    </a:cubicBezTo>
                    <a:lnTo>
                      <a:pt x="5347870" y="3216426"/>
                    </a:lnTo>
                    <a:cubicBezTo>
                      <a:pt x="5340874" y="3203039"/>
                      <a:pt x="5325286" y="3196593"/>
                      <a:pt x="5310878" y="3201130"/>
                    </a:cubicBezTo>
                    <a:cubicBezTo>
                      <a:pt x="5306749" y="3202496"/>
                      <a:pt x="5302934" y="3204672"/>
                      <a:pt x="5299656" y="3207531"/>
                    </a:cubicBezTo>
                    <a:lnTo>
                      <a:pt x="5086352" y="3019414"/>
                    </a:lnTo>
                    <a:cubicBezTo>
                      <a:pt x="5099529" y="3002560"/>
                      <a:pt x="5096547" y="2978214"/>
                      <a:pt x="5079693" y="2965038"/>
                    </a:cubicBezTo>
                    <a:cubicBezTo>
                      <a:pt x="5075604" y="2961841"/>
                      <a:pt x="5070914" y="2959499"/>
                      <a:pt x="5065903" y="2958150"/>
                    </a:cubicBezTo>
                    <a:close/>
                    <a:moveTo>
                      <a:pt x="4119914" y="3019996"/>
                    </a:moveTo>
                    <a:cubicBezTo>
                      <a:pt x="4124271" y="3020515"/>
                      <a:pt x="4128688" y="3020119"/>
                      <a:pt x="4132882" y="3018832"/>
                    </a:cubicBezTo>
                    <a:cubicBezTo>
                      <a:pt x="4148214" y="3013928"/>
                      <a:pt x="4157267" y="2998131"/>
                      <a:pt x="4153747" y="2982423"/>
                    </a:cubicBezTo>
                    <a:lnTo>
                      <a:pt x="4420752" y="2892563"/>
                    </a:lnTo>
                    <a:cubicBezTo>
                      <a:pt x="4429001" y="2910078"/>
                      <a:pt x="4448896" y="2918838"/>
                      <a:pt x="4467386" y="2913095"/>
                    </a:cubicBezTo>
                    <a:cubicBezTo>
                      <a:pt x="4472821" y="2911447"/>
                      <a:pt x="4477819" y="2908607"/>
                      <a:pt x="4482016" y="2904782"/>
                    </a:cubicBezTo>
                    <a:lnTo>
                      <a:pt x="4694906" y="3092400"/>
                    </a:lnTo>
                    <a:cubicBezTo>
                      <a:pt x="4685205" y="3106456"/>
                      <a:pt x="4688737" y="3125715"/>
                      <a:pt x="4702793" y="3135416"/>
                    </a:cubicBezTo>
                    <a:cubicBezTo>
                      <a:pt x="4705106" y="3137012"/>
                      <a:pt x="4707627" y="3138286"/>
                      <a:pt x="4710284" y="3139201"/>
                    </a:cubicBezTo>
                    <a:lnTo>
                      <a:pt x="4653924" y="3418675"/>
                    </a:lnTo>
                    <a:cubicBezTo>
                      <a:pt x="4649455" y="3418453"/>
                      <a:pt x="4644982" y="3419016"/>
                      <a:pt x="4640707" y="3420338"/>
                    </a:cubicBezTo>
                    <a:cubicBezTo>
                      <a:pt x="4622291" y="3426165"/>
                      <a:pt x="4611004" y="3444693"/>
                      <a:pt x="4614272" y="3463730"/>
                    </a:cubicBezTo>
                    <a:lnTo>
                      <a:pt x="4353751" y="3551512"/>
                    </a:lnTo>
                    <a:cubicBezTo>
                      <a:pt x="4344000" y="3529570"/>
                      <a:pt x="4318308" y="3519688"/>
                      <a:pt x="4296366" y="3529440"/>
                    </a:cubicBezTo>
                    <a:cubicBezTo>
                      <a:pt x="4292723" y="3531059"/>
                      <a:pt x="4289319" y="3533171"/>
                      <a:pt x="4286252" y="3535718"/>
                    </a:cubicBezTo>
                    <a:lnTo>
                      <a:pt x="4080096" y="3353919"/>
                    </a:lnTo>
                    <a:cubicBezTo>
                      <a:pt x="4089876" y="3339974"/>
                      <a:pt x="4086499" y="3320741"/>
                      <a:pt x="4072554" y="3310962"/>
                    </a:cubicBezTo>
                    <a:cubicBezTo>
                      <a:pt x="4069454" y="3308787"/>
                      <a:pt x="4065981" y="3307203"/>
                      <a:pt x="4062307" y="3306287"/>
                    </a:cubicBezTo>
                    <a:close/>
                    <a:moveTo>
                      <a:pt x="3712175" y="3493822"/>
                    </a:moveTo>
                    <a:cubicBezTo>
                      <a:pt x="3719022" y="3495020"/>
                      <a:pt x="3726055" y="3494592"/>
                      <a:pt x="3732707" y="3492575"/>
                    </a:cubicBezTo>
                    <a:cubicBezTo>
                      <a:pt x="3755771" y="3485264"/>
                      <a:pt x="3768541" y="3460641"/>
                      <a:pt x="3761230" y="3437577"/>
                    </a:cubicBezTo>
                    <a:cubicBezTo>
                      <a:pt x="3761227" y="3437566"/>
                      <a:pt x="3761223" y="3437555"/>
                      <a:pt x="3761220" y="3437544"/>
                    </a:cubicBezTo>
                    <a:lnTo>
                      <a:pt x="3761220" y="3437545"/>
                    </a:lnTo>
                    <a:lnTo>
                      <a:pt x="4025897" y="3348432"/>
                    </a:lnTo>
                    <a:cubicBezTo>
                      <a:pt x="4032021" y="3363372"/>
                      <a:pt x="4048563" y="3371137"/>
                      <a:pt x="4063969" y="3366305"/>
                    </a:cubicBezTo>
                    <a:cubicBezTo>
                      <a:pt x="4067689" y="3365087"/>
                      <a:pt x="4071154" y="3363200"/>
                      <a:pt x="4074194" y="3360735"/>
                    </a:cubicBezTo>
                    <a:lnTo>
                      <a:pt x="4280017" y="3542202"/>
                    </a:lnTo>
                    <a:cubicBezTo>
                      <a:pt x="4264870" y="3560950"/>
                      <a:pt x="4267789" y="3588428"/>
                      <a:pt x="4286538" y="3603575"/>
                    </a:cubicBezTo>
                    <a:cubicBezTo>
                      <a:pt x="4291451" y="3607545"/>
                      <a:pt x="4297168" y="3610401"/>
                      <a:pt x="4303293" y="3611945"/>
                    </a:cubicBezTo>
                    <a:lnTo>
                      <a:pt x="4248845" y="3882276"/>
                    </a:lnTo>
                    <a:cubicBezTo>
                      <a:pt x="4244944" y="3882023"/>
                      <a:pt x="4241031" y="3882473"/>
                      <a:pt x="4237290" y="3883606"/>
                    </a:cubicBezTo>
                    <a:cubicBezTo>
                      <a:pt x="4221886" y="3888515"/>
                      <a:pt x="4212840" y="3904436"/>
                      <a:pt x="4216508" y="3920182"/>
                    </a:cubicBezTo>
                    <a:lnTo>
                      <a:pt x="3940775" y="4013035"/>
                    </a:lnTo>
                    <a:cubicBezTo>
                      <a:pt x="3932998" y="3999543"/>
                      <a:pt x="3916900" y="3993256"/>
                      <a:pt x="3902037" y="3997906"/>
                    </a:cubicBezTo>
                    <a:cubicBezTo>
                      <a:pt x="3898604" y="3999045"/>
                      <a:pt x="3895377" y="4000729"/>
                      <a:pt x="3892478" y="4002893"/>
                    </a:cubicBezTo>
                    <a:lnTo>
                      <a:pt x="3683164" y="3818351"/>
                    </a:lnTo>
                    <a:cubicBezTo>
                      <a:pt x="3698031" y="3799264"/>
                      <a:pt x="3694611" y="3771737"/>
                      <a:pt x="3675523" y="3756870"/>
                    </a:cubicBezTo>
                    <a:cubicBezTo>
                      <a:pt x="3671138" y="3753454"/>
                      <a:pt x="3666142" y="3750903"/>
                      <a:pt x="3660802" y="3749355"/>
                    </a:cubicBezTo>
                    <a:close/>
                    <a:moveTo>
                      <a:pt x="2710907" y="3829407"/>
                    </a:moveTo>
                    <a:cubicBezTo>
                      <a:pt x="2717805" y="3830687"/>
                      <a:pt x="2724911" y="3830258"/>
                      <a:pt x="2731606" y="3828159"/>
                    </a:cubicBezTo>
                    <a:cubicBezTo>
                      <a:pt x="2754438" y="3820947"/>
                      <a:pt x="2767223" y="3796712"/>
                      <a:pt x="2760285" y="3773794"/>
                    </a:cubicBezTo>
                    <a:lnTo>
                      <a:pt x="3004845" y="3691914"/>
                    </a:lnTo>
                    <a:cubicBezTo>
                      <a:pt x="3014169" y="3717834"/>
                      <a:pt x="3042741" y="3731287"/>
                      <a:pt x="3068660" y="3721963"/>
                    </a:cubicBezTo>
                    <a:cubicBezTo>
                      <a:pt x="3075616" y="3719460"/>
                      <a:pt x="3081928" y="3715443"/>
                      <a:pt x="3087141" y="3710202"/>
                    </a:cubicBezTo>
                    <a:lnTo>
                      <a:pt x="3288392" y="3887596"/>
                    </a:lnTo>
                    <a:cubicBezTo>
                      <a:pt x="3277268" y="3902207"/>
                      <a:pt x="3280096" y="3923070"/>
                      <a:pt x="3294708" y="3934193"/>
                    </a:cubicBezTo>
                    <a:cubicBezTo>
                      <a:pt x="3297362" y="3936214"/>
                      <a:pt x="3300305" y="3937824"/>
                      <a:pt x="3303438" y="3938968"/>
                    </a:cubicBezTo>
                    <a:lnTo>
                      <a:pt x="3249405" y="4207054"/>
                    </a:lnTo>
                    <a:cubicBezTo>
                      <a:pt x="3225435" y="4205658"/>
                      <a:pt x="3204872" y="4223958"/>
                      <a:pt x="3203476" y="4247929"/>
                    </a:cubicBezTo>
                    <a:cubicBezTo>
                      <a:pt x="3203229" y="4252181"/>
                      <a:pt x="3203607" y="4256446"/>
                      <a:pt x="3204600" y="4260588"/>
                    </a:cubicBezTo>
                    <a:lnTo>
                      <a:pt x="2950978" y="4345960"/>
                    </a:lnTo>
                    <a:cubicBezTo>
                      <a:pt x="2942849" y="4324107"/>
                      <a:pt x="2919004" y="4312477"/>
                      <a:pt x="2896779" y="4319525"/>
                    </a:cubicBezTo>
                    <a:cubicBezTo>
                      <a:pt x="2890148" y="4321611"/>
                      <a:pt x="2884146" y="4325326"/>
                      <a:pt x="2879323" y="4330332"/>
                    </a:cubicBezTo>
                    <a:lnTo>
                      <a:pt x="2671505" y="4147452"/>
                    </a:lnTo>
                    <a:cubicBezTo>
                      <a:pt x="2676781" y="4139670"/>
                      <a:pt x="2678219" y="4129907"/>
                      <a:pt x="2675412" y="4120934"/>
                    </a:cubicBezTo>
                    <a:cubicBezTo>
                      <a:pt x="2672440" y="4111738"/>
                      <a:pt x="2665381" y="4104434"/>
                      <a:pt x="2656292" y="4101150"/>
                    </a:cubicBezTo>
                    <a:close/>
                    <a:moveTo>
                      <a:pt x="2274073" y="4218692"/>
                    </a:moveTo>
                    <a:cubicBezTo>
                      <a:pt x="2260007" y="4238264"/>
                      <a:pt x="2264470" y="4265534"/>
                      <a:pt x="2284043" y="4279600"/>
                    </a:cubicBezTo>
                    <a:cubicBezTo>
                      <a:pt x="2288030" y="4282465"/>
                      <a:pt x="2292472" y="4284638"/>
                      <a:pt x="2297182" y="4286025"/>
                    </a:cubicBezTo>
                    <a:lnTo>
                      <a:pt x="2261604" y="4466079"/>
                    </a:lnTo>
                    <a:lnTo>
                      <a:pt x="2243898" y="4553944"/>
                    </a:lnTo>
                    <a:cubicBezTo>
                      <a:pt x="2239515" y="4553652"/>
                      <a:pt x="2235115" y="4554188"/>
                      <a:pt x="2230930" y="4555524"/>
                    </a:cubicBezTo>
                    <a:cubicBezTo>
                      <a:pt x="2212952" y="4561189"/>
                      <a:pt x="2202178" y="4579541"/>
                      <a:pt x="2205992" y="4598002"/>
                    </a:cubicBezTo>
                    <a:lnTo>
                      <a:pt x="1934498" y="4690522"/>
                    </a:lnTo>
                    <a:cubicBezTo>
                      <a:pt x="1928259" y="4675840"/>
                      <a:pt x="1911896" y="4668288"/>
                      <a:pt x="1896675" y="4673066"/>
                    </a:cubicBezTo>
                    <a:cubicBezTo>
                      <a:pt x="1892486" y="4674450"/>
                      <a:pt x="1888615" y="4676654"/>
                      <a:pt x="1885287" y="4679550"/>
                    </a:cubicBezTo>
                    <a:lnTo>
                      <a:pt x="1673395" y="4494176"/>
                    </a:lnTo>
                    <a:cubicBezTo>
                      <a:pt x="1679652" y="4484957"/>
                      <a:pt x="1681365" y="4473390"/>
                      <a:pt x="1678050" y="4462753"/>
                    </a:cubicBezTo>
                    <a:cubicBezTo>
                      <a:pt x="1674300" y="4451013"/>
                      <a:pt x="1664950" y="4441912"/>
                      <a:pt x="1653112" y="4438480"/>
                    </a:cubicBezTo>
                    <a:lnTo>
                      <a:pt x="1708891" y="4156263"/>
                    </a:lnTo>
                    <a:cubicBezTo>
                      <a:pt x="1725920" y="4157560"/>
                      <a:pt x="1740776" y="4144806"/>
                      <a:pt x="1742073" y="4127777"/>
                    </a:cubicBezTo>
                    <a:cubicBezTo>
                      <a:pt x="1742288" y="4124959"/>
                      <a:pt x="1742115" y="4122126"/>
                      <a:pt x="1741560" y="4119354"/>
                    </a:cubicBezTo>
                    <a:lnTo>
                      <a:pt x="2005489" y="4029494"/>
                    </a:lnTo>
                    <a:cubicBezTo>
                      <a:pt x="2014344" y="4050018"/>
                      <a:pt x="2037276" y="4060533"/>
                      <a:pt x="2058607" y="4053850"/>
                    </a:cubicBezTo>
                    <a:cubicBezTo>
                      <a:pt x="2064542" y="4051931"/>
                      <a:pt x="2070008" y="4048788"/>
                      <a:pt x="2074651" y="4044623"/>
                    </a:cubicBezTo>
                    <a:close/>
                    <a:moveTo>
                      <a:pt x="872963" y="3793495"/>
                    </a:moveTo>
                    <a:cubicBezTo>
                      <a:pt x="878277" y="3785633"/>
                      <a:pt x="879687" y="3775765"/>
                      <a:pt x="876787" y="3766729"/>
                    </a:cubicBezTo>
                    <a:cubicBezTo>
                      <a:pt x="873745" y="3757136"/>
                      <a:pt x="866249" y="3749610"/>
                      <a:pt x="856670" y="3746529"/>
                    </a:cubicBezTo>
                    <a:lnTo>
                      <a:pt x="910038" y="3475783"/>
                    </a:lnTo>
                    <a:cubicBezTo>
                      <a:pt x="916468" y="3476771"/>
                      <a:pt x="923040" y="3476258"/>
                      <a:pt x="929240" y="3474287"/>
                    </a:cubicBezTo>
                    <a:cubicBezTo>
                      <a:pt x="951988" y="3467074"/>
                      <a:pt x="964752" y="3442953"/>
                      <a:pt x="957919" y="3420088"/>
                    </a:cubicBezTo>
                    <a:lnTo>
                      <a:pt x="1219437" y="3331059"/>
                    </a:lnTo>
                    <a:cubicBezTo>
                      <a:pt x="1226812" y="3345550"/>
                      <a:pt x="1243585" y="3352583"/>
                      <a:pt x="1259089" y="3347684"/>
                    </a:cubicBezTo>
                    <a:cubicBezTo>
                      <a:pt x="1263359" y="3346313"/>
                      <a:pt x="1267314" y="3344110"/>
                      <a:pt x="1270727" y="3341200"/>
                    </a:cubicBezTo>
                    <a:lnTo>
                      <a:pt x="1487357" y="3530730"/>
                    </a:lnTo>
                    <a:cubicBezTo>
                      <a:pt x="1481957" y="3538552"/>
                      <a:pt x="1480455" y="3548423"/>
                      <a:pt x="1483283" y="3557497"/>
                    </a:cubicBezTo>
                    <a:cubicBezTo>
                      <a:pt x="1486431" y="3567361"/>
                      <a:pt x="1494235" y="3575041"/>
                      <a:pt x="1504148" y="3578029"/>
                    </a:cubicBezTo>
                    <a:lnTo>
                      <a:pt x="1451362" y="3844785"/>
                    </a:lnTo>
                    <a:cubicBezTo>
                      <a:pt x="1444454" y="3843964"/>
                      <a:pt x="1437451" y="3844644"/>
                      <a:pt x="1430830" y="3846780"/>
                    </a:cubicBezTo>
                    <a:cubicBezTo>
                      <a:pt x="1405840" y="3854764"/>
                      <a:pt x="1391306" y="3880743"/>
                      <a:pt x="1397579" y="3906217"/>
                    </a:cubicBezTo>
                    <a:lnTo>
                      <a:pt x="1151107" y="3990008"/>
                    </a:lnTo>
                    <a:cubicBezTo>
                      <a:pt x="1142402" y="3967779"/>
                      <a:pt x="1117325" y="3956814"/>
                      <a:pt x="1095096" y="3965518"/>
                    </a:cubicBezTo>
                    <a:cubicBezTo>
                      <a:pt x="1089542" y="3967693"/>
                      <a:pt x="1084498" y="3970993"/>
                      <a:pt x="1080282" y="3975212"/>
                    </a:cubicBezTo>
                    <a:close/>
                    <a:moveTo>
                      <a:pt x="1107548" y="4050110"/>
                    </a:moveTo>
                    <a:cubicBezTo>
                      <a:pt x="1131577" y="4051999"/>
                      <a:pt x="1152587" y="4034052"/>
                      <a:pt x="1154477" y="4010024"/>
                    </a:cubicBezTo>
                    <a:cubicBezTo>
                      <a:pt x="1154780" y="4006168"/>
                      <a:pt x="1154569" y="4002288"/>
                      <a:pt x="1153850" y="3998488"/>
                    </a:cubicBezTo>
                    <a:lnTo>
                      <a:pt x="1400489" y="3914446"/>
                    </a:lnTo>
                    <a:cubicBezTo>
                      <a:pt x="1411765" y="3939578"/>
                      <a:pt x="1441281" y="3950810"/>
                      <a:pt x="1466413" y="3939532"/>
                    </a:cubicBezTo>
                    <a:cubicBezTo>
                      <a:pt x="1471528" y="3937237"/>
                      <a:pt x="1476220" y="3934095"/>
                      <a:pt x="1480291" y="3930240"/>
                    </a:cubicBezTo>
                    <a:lnTo>
                      <a:pt x="1684784" y="4109213"/>
                    </a:lnTo>
                    <a:cubicBezTo>
                      <a:pt x="1675892" y="4123741"/>
                      <a:pt x="1680460" y="4142725"/>
                      <a:pt x="1694987" y="4151618"/>
                    </a:cubicBezTo>
                    <a:cubicBezTo>
                      <a:pt x="1696655" y="4152638"/>
                      <a:pt x="1698415" y="4153498"/>
                      <a:pt x="1700245" y="4154185"/>
                    </a:cubicBezTo>
                    <a:lnTo>
                      <a:pt x="1644301" y="4436818"/>
                    </a:lnTo>
                    <a:cubicBezTo>
                      <a:pt x="1640060" y="4436533"/>
                      <a:pt x="1635804" y="4437041"/>
                      <a:pt x="1631749" y="4438314"/>
                    </a:cubicBezTo>
                    <a:cubicBezTo>
                      <a:pt x="1614180" y="4443943"/>
                      <a:pt x="1603510" y="4461727"/>
                      <a:pt x="1606810" y="4479878"/>
                    </a:cubicBezTo>
                    <a:lnTo>
                      <a:pt x="1342299" y="4570653"/>
                    </a:lnTo>
                    <a:cubicBezTo>
                      <a:pt x="1333834" y="4552312"/>
                      <a:pt x="1312103" y="4544307"/>
                      <a:pt x="1293762" y="4552773"/>
                    </a:cubicBezTo>
                    <a:cubicBezTo>
                      <a:pt x="1290219" y="4554408"/>
                      <a:pt x="1286961" y="4556600"/>
                      <a:pt x="1284110" y="4559264"/>
                    </a:cubicBezTo>
                    <a:lnTo>
                      <a:pt x="1079617" y="4380291"/>
                    </a:lnTo>
                    <a:cubicBezTo>
                      <a:pt x="1094410" y="4361262"/>
                      <a:pt x="1090976" y="4333844"/>
                      <a:pt x="1071947" y="4319051"/>
                    </a:cubicBezTo>
                    <a:cubicBezTo>
                      <a:pt x="1067203" y="4315363"/>
                      <a:pt x="1061749" y="4312695"/>
                      <a:pt x="1055926" y="4311212"/>
                    </a:cubicBezTo>
                    <a:close/>
                    <a:moveTo>
                      <a:pt x="108192" y="4381871"/>
                    </a:moveTo>
                    <a:cubicBezTo>
                      <a:pt x="112423" y="4382290"/>
                      <a:pt x="116695" y="4381838"/>
                      <a:pt x="120744" y="4380541"/>
                    </a:cubicBezTo>
                    <a:cubicBezTo>
                      <a:pt x="136408" y="4375549"/>
                      <a:pt x="145502" y="4359251"/>
                      <a:pt x="141526" y="4343300"/>
                    </a:cubicBezTo>
                    <a:lnTo>
                      <a:pt x="409528" y="4251859"/>
                    </a:lnTo>
                    <a:cubicBezTo>
                      <a:pt x="417117" y="4268907"/>
                      <a:pt x="436279" y="4277558"/>
                      <a:pt x="454085" y="4271976"/>
                    </a:cubicBezTo>
                    <a:cubicBezTo>
                      <a:pt x="459682" y="4270165"/>
                      <a:pt x="464758" y="4267028"/>
                      <a:pt x="468881" y="4262832"/>
                    </a:cubicBezTo>
                    <a:lnTo>
                      <a:pt x="673374" y="4441639"/>
                    </a:lnTo>
                    <a:cubicBezTo>
                      <a:pt x="664976" y="4452887"/>
                      <a:pt x="662502" y="4467488"/>
                      <a:pt x="666724" y="4480875"/>
                    </a:cubicBezTo>
                    <a:cubicBezTo>
                      <a:pt x="671136" y="4494839"/>
                      <a:pt x="682245" y="4505668"/>
                      <a:pt x="696317" y="4509720"/>
                    </a:cubicBezTo>
                    <a:lnTo>
                      <a:pt x="644945" y="4769576"/>
                    </a:lnTo>
                    <a:cubicBezTo>
                      <a:pt x="639035" y="4768991"/>
                      <a:pt x="633067" y="4769613"/>
                      <a:pt x="627405" y="4771405"/>
                    </a:cubicBezTo>
                    <a:cubicBezTo>
                      <a:pt x="605155" y="4778438"/>
                      <a:pt x="592375" y="4801729"/>
                      <a:pt x="598393" y="4824274"/>
                    </a:cubicBezTo>
                    <a:lnTo>
                      <a:pt x="335545" y="4913885"/>
                    </a:lnTo>
                    <a:cubicBezTo>
                      <a:pt x="329483" y="4898883"/>
                      <a:pt x="312905" y="4891064"/>
                      <a:pt x="297473" y="4895930"/>
                    </a:cubicBezTo>
                    <a:cubicBezTo>
                      <a:pt x="292954" y="4897386"/>
                      <a:pt x="288830" y="4899861"/>
                      <a:pt x="285419" y="4903162"/>
                    </a:cubicBezTo>
                    <a:lnTo>
                      <a:pt x="78765" y="4722692"/>
                    </a:lnTo>
                    <a:cubicBezTo>
                      <a:pt x="87332" y="4711396"/>
                      <a:pt x="89903" y="4696653"/>
                      <a:pt x="85664" y="4683124"/>
                    </a:cubicBezTo>
                    <a:cubicBezTo>
                      <a:pt x="81029" y="4668515"/>
                      <a:pt x="69071" y="4657408"/>
                      <a:pt x="54159" y="4653863"/>
                    </a:cubicBezTo>
                    <a:close/>
                  </a:path>
                </a:pathLst>
              </a:custGeom>
              <a:solidFill>
                <a:srgbClr val="54616C">
                  <a:alpha val="50000"/>
                </a:srgbClr>
              </a:solidFill>
              <a:ln w="83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b-NO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6C5EA683-0003-4438-A4D1-E2F1DA77A035}"/>
                  </a:ext>
                </a:extLst>
              </p:cNvPr>
              <p:cNvSpPr/>
              <p:nvPr/>
            </p:nvSpPr>
            <p:spPr>
              <a:xfrm>
                <a:off x="-2739579" y="-2177955"/>
                <a:ext cx="9094123" cy="6849687"/>
              </a:xfrm>
              <a:custGeom>
                <a:avLst/>
                <a:gdLst>
                  <a:gd name="connsiteX0" fmla="*/ 68232 w 9094123"/>
                  <a:gd name="connsiteY0" fmla="*/ 6701926 h 6849687"/>
                  <a:gd name="connsiteX1" fmla="*/ 81699 w 9094123"/>
                  <a:gd name="connsiteY1" fmla="*/ 6689290 h 6849687"/>
                  <a:gd name="connsiteX2" fmla="*/ 325096 w 9094123"/>
                  <a:gd name="connsiteY2" fmla="*/ 6817140 h 6849687"/>
                  <a:gd name="connsiteX3" fmla="*/ 328005 w 9094123"/>
                  <a:gd name="connsiteY3" fmla="*/ 6842494 h 6849687"/>
                  <a:gd name="connsiteX4" fmla="*/ 370629 w 9094123"/>
                  <a:gd name="connsiteY4" fmla="*/ 6853279 h 6849687"/>
                  <a:gd name="connsiteX5" fmla="*/ 370732 w 9094123"/>
                  <a:gd name="connsiteY5" fmla="*/ 6853217 h 6849687"/>
                  <a:gd name="connsiteX6" fmla="*/ 384116 w 9094123"/>
                  <a:gd name="connsiteY6" fmla="*/ 6815893 h 6849687"/>
                  <a:gd name="connsiteX7" fmla="*/ 619366 w 9094123"/>
                  <a:gd name="connsiteY7" fmla="*/ 6667511 h 6849687"/>
                  <a:gd name="connsiteX8" fmla="*/ 675726 w 9094123"/>
                  <a:gd name="connsiteY8" fmla="*/ 6677486 h 6849687"/>
                  <a:gd name="connsiteX9" fmla="*/ 689609 w 9094123"/>
                  <a:gd name="connsiteY9" fmla="*/ 6664103 h 6849687"/>
                  <a:gd name="connsiteX10" fmla="*/ 933255 w 9094123"/>
                  <a:gd name="connsiteY10" fmla="*/ 6792202 h 6849687"/>
                  <a:gd name="connsiteX11" fmla="*/ 954586 w 9094123"/>
                  <a:gd name="connsiteY11" fmla="*/ 6837512 h 6849687"/>
                  <a:gd name="connsiteX12" fmla="*/ 999896 w 9094123"/>
                  <a:gd name="connsiteY12" fmla="*/ 6816181 h 6849687"/>
                  <a:gd name="connsiteX13" fmla="*/ 998343 w 9094123"/>
                  <a:gd name="connsiteY13" fmla="*/ 6788544 h 6849687"/>
                  <a:gd name="connsiteX14" fmla="*/ 1228273 w 9094123"/>
                  <a:gd name="connsiteY14" fmla="*/ 6643570 h 6849687"/>
                  <a:gd name="connsiteX15" fmla="*/ 1289702 w 9094123"/>
                  <a:gd name="connsiteY15" fmla="*/ 6650661 h 6849687"/>
                  <a:gd name="connsiteX16" fmla="*/ 1296793 w 9094123"/>
                  <a:gd name="connsiteY16" fmla="*/ 6589233 h 6849687"/>
                  <a:gd name="connsiteX17" fmla="*/ 1266179 w 9094123"/>
                  <a:gd name="connsiteY17" fmla="*/ 6572828 h 6849687"/>
                  <a:gd name="connsiteX18" fmla="*/ 1255622 w 9094123"/>
                  <a:gd name="connsiteY18" fmla="*/ 6300670 h 6849687"/>
                  <a:gd name="connsiteX19" fmla="*/ 1287041 w 9094123"/>
                  <a:gd name="connsiteY19" fmla="*/ 6259431 h 6849687"/>
                  <a:gd name="connsiteX20" fmla="*/ 1283553 w 9094123"/>
                  <a:gd name="connsiteY20" fmla="*/ 6248051 h 6849687"/>
                  <a:gd name="connsiteX21" fmla="*/ 1520133 w 9094123"/>
                  <a:gd name="connsiteY21" fmla="*/ 6098920 h 6849687"/>
                  <a:gd name="connsiteX22" fmla="*/ 1570985 w 9094123"/>
                  <a:gd name="connsiteY22" fmla="*/ 6107009 h 6849687"/>
                  <a:gd name="connsiteX23" fmla="*/ 1580317 w 9094123"/>
                  <a:gd name="connsiteY23" fmla="*/ 6097092 h 6849687"/>
                  <a:gd name="connsiteX24" fmla="*/ 1829699 w 9094123"/>
                  <a:gd name="connsiteY24" fmla="*/ 6228349 h 6849687"/>
                  <a:gd name="connsiteX25" fmla="*/ 1848595 w 9094123"/>
                  <a:gd name="connsiteY25" fmla="*/ 6268049 h 6849687"/>
                  <a:gd name="connsiteX26" fmla="*/ 1888295 w 9094123"/>
                  <a:gd name="connsiteY26" fmla="*/ 6249154 h 6849687"/>
                  <a:gd name="connsiteX27" fmla="*/ 1887888 w 9094123"/>
                  <a:gd name="connsiteY27" fmla="*/ 6227269 h 6849687"/>
                  <a:gd name="connsiteX28" fmla="*/ 2130703 w 9094123"/>
                  <a:gd name="connsiteY28" fmla="*/ 6074232 h 6849687"/>
                  <a:gd name="connsiteX29" fmla="*/ 2178584 w 9094123"/>
                  <a:gd name="connsiteY29" fmla="*/ 6083293 h 6849687"/>
                  <a:gd name="connsiteX30" fmla="*/ 2190388 w 9094123"/>
                  <a:gd name="connsiteY30" fmla="*/ 6071821 h 6849687"/>
                  <a:gd name="connsiteX31" fmla="*/ 2442597 w 9094123"/>
                  <a:gd name="connsiteY31" fmla="*/ 6205822 h 6849687"/>
                  <a:gd name="connsiteX32" fmla="*/ 2459456 w 9094123"/>
                  <a:gd name="connsiteY32" fmla="*/ 6246047 h 6849687"/>
                  <a:gd name="connsiteX33" fmla="*/ 2467535 w 9094123"/>
                  <a:gd name="connsiteY33" fmla="*/ 6248134 h 6849687"/>
                  <a:gd name="connsiteX34" fmla="*/ 2477510 w 9094123"/>
                  <a:gd name="connsiteY34" fmla="*/ 6529270 h 6849687"/>
                  <a:gd name="connsiteX35" fmla="*/ 2447050 w 9094123"/>
                  <a:gd name="connsiteY35" fmla="*/ 6571657 h 6849687"/>
                  <a:gd name="connsiteX36" fmla="*/ 2489438 w 9094123"/>
                  <a:gd name="connsiteY36" fmla="*/ 6602117 h 6849687"/>
                  <a:gd name="connsiteX37" fmla="*/ 2502448 w 9094123"/>
                  <a:gd name="connsiteY37" fmla="*/ 6597351 h 6849687"/>
                  <a:gd name="connsiteX38" fmla="*/ 2513255 w 9094123"/>
                  <a:gd name="connsiteY38" fmla="*/ 6587376 h 6849687"/>
                  <a:gd name="connsiteX39" fmla="*/ 2754823 w 9094123"/>
                  <a:gd name="connsiteY39" fmla="*/ 6715725 h 6849687"/>
                  <a:gd name="connsiteX40" fmla="*/ 2780055 w 9094123"/>
                  <a:gd name="connsiteY40" fmla="*/ 6772050 h 6849687"/>
                  <a:gd name="connsiteX41" fmla="*/ 2836380 w 9094123"/>
                  <a:gd name="connsiteY41" fmla="*/ 6746817 h 6849687"/>
                  <a:gd name="connsiteX42" fmla="*/ 2834791 w 9094123"/>
                  <a:gd name="connsiteY42" fmla="*/ 6712067 h 6849687"/>
                  <a:gd name="connsiteX43" fmla="*/ 3064472 w 9094123"/>
                  <a:gd name="connsiteY43" fmla="*/ 6568507 h 6849687"/>
                  <a:gd name="connsiteX44" fmla="*/ 3113434 w 9094123"/>
                  <a:gd name="connsiteY44" fmla="*/ 6578981 h 6849687"/>
                  <a:gd name="connsiteX45" fmla="*/ 3125155 w 9094123"/>
                  <a:gd name="connsiteY45" fmla="*/ 6567675 h 6849687"/>
                  <a:gd name="connsiteX46" fmla="*/ 3364561 w 9094123"/>
                  <a:gd name="connsiteY46" fmla="*/ 6694860 h 6849687"/>
                  <a:gd name="connsiteX47" fmla="*/ 3390551 w 9094123"/>
                  <a:gd name="connsiteY47" fmla="*/ 6750840 h 6849687"/>
                  <a:gd name="connsiteX48" fmla="*/ 3446531 w 9094123"/>
                  <a:gd name="connsiteY48" fmla="*/ 6724850 h 6849687"/>
                  <a:gd name="connsiteX49" fmla="*/ 3445195 w 9094123"/>
                  <a:gd name="connsiteY49" fmla="*/ 6691618 h 6849687"/>
                  <a:gd name="connsiteX50" fmla="*/ 3681442 w 9094123"/>
                  <a:gd name="connsiteY50" fmla="*/ 6543901 h 6849687"/>
                  <a:gd name="connsiteX51" fmla="*/ 3725173 w 9094123"/>
                  <a:gd name="connsiteY51" fmla="*/ 6548458 h 6849687"/>
                  <a:gd name="connsiteX52" fmla="*/ 3729730 w 9094123"/>
                  <a:gd name="connsiteY52" fmla="*/ 6504727 h 6849687"/>
                  <a:gd name="connsiteX53" fmla="*/ 3707378 w 9094123"/>
                  <a:gd name="connsiteY53" fmla="*/ 6493276 h 6849687"/>
                  <a:gd name="connsiteX54" fmla="*/ 3697652 w 9094123"/>
                  <a:gd name="connsiteY54" fmla="*/ 6216795 h 6849687"/>
                  <a:gd name="connsiteX55" fmla="*/ 3716771 w 9094123"/>
                  <a:gd name="connsiteY55" fmla="*/ 6210810 h 6849687"/>
                  <a:gd name="connsiteX56" fmla="*/ 3732233 w 9094123"/>
                  <a:gd name="connsiteY56" fmla="*/ 6151790 h 6849687"/>
                  <a:gd name="connsiteX57" fmla="*/ 3961914 w 9094123"/>
                  <a:gd name="connsiteY57" fmla="*/ 6008229 h 6849687"/>
                  <a:gd name="connsiteX58" fmla="*/ 4010709 w 9094123"/>
                  <a:gd name="connsiteY58" fmla="*/ 6018370 h 6849687"/>
                  <a:gd name="connsiteX59" fmla="*/ 4021848 w 9094123"/>
                  <a:gd name="connsiteY59" fmla="*/ 6007896 h 6849687"/>
                  <a:gd name="connsiteX60" fmla="*/ 4264996 w 9094123"/>
                  <a:gd name="connsiteY60" fmla="*/ 6137076 h 6849687"/>
                  <a:gd name="connsiteX61" fmla="*/ 4288240 w 9094123"/>
                  <a:gd name="connsiteY61" fmla="*/ 6183548 h 6849687"/>
                  <a:gd name="connsiteX62" fmla="*/ 4334712 w 9094123"/>
                  <a:gd name="connsiteY62" fmla="*/ 6160304 h 6849687"/>
                  <a:gd name="connsiteX63" fmla="*/ 4334241 w 9094123"/>
                  <a:gd name="connsiteY63" fmla="*/ 6135746 h 6849687"/>
                  <a:gd name="connsiteX64" fmla="*/ 4576391 w 9094123"/>
                  <a:gd name="connsiteY64" fmla="*/ 5984288 h 6849687"/>
                  <a:gd name="connsiteX65" fmla="*/ 4614795 w 9094123"/>
                  <a:gd name="connsiteY65" fmla="*/ 5989442 h 6849687"/>
                  <a:gd name="connsiteX66" fmla="*/ 4623108 w 9094123"/>
                  <a:gd name="connsiteY66" fmla="*/ 5982043 h 6849687"/>
                  <a:gd name="connsiteX67" fmla="*/ 4876231 w 9094123"/>
                  <a:gd name="connsiteY67" fmla="*/ 6116543 h 6849687"/>
                  <a:gd name="connsiteX68" fmla="*/ 4898640 w 9094123"/>
                  <a:gd name="connsiteY68" fmla="*/ 6163424 h 6849687"/>
                  <a:gd name="connsiteX69" fmla="*/ 4945521 w 9094123"/>
                  <a:gd name="connsiteY69" fmla="*/ 6141015 h 6849687"/>
                  <a:gd name="connsiteX70" fmla="*/ 4944644 w 9094123"/>
                  <a:gd name="connsiteY70" fmla="*/ 6114299 h 6849687"/>
                  <a:gd name="connsiteX71" fmla="*/ 5184966 w 9094123"/>
                  <a:gd name="connsiteY71" fmla="*/ 5964005 h 6849687"/>
                  <a:gd name="connsiteX72" fmla="*/ 5230789 w 9094123"/>
                  <a:gd name="connsiteY72" fmla="*/ 5969903 h 6849687"/>
                  <a:gd name="connsiteX73" fmla="*/ 5236687 w 9094123"/>
                  <a:gd name="connsiteY73" fmla="*/ 5924080 h 6849687"/>
                  <a:gd name="connsiteX74" fmla="*/ 5213312 w 9094123"/>
                  <a:gd name="connsiteY74" fmla="*/ 5911468 h 6849687"/>
                  <a:gd name="connsiteX75" fmla="*/ 5203420 w 9094123"/>
                  <a:gd name="connsiteY75" fmla="*/ 5631745 h 6849687"/>
                  <a:gd name="connsiteX76" fmla="*/ 5216387 w 9094123"/>
                  <a:gd name="connsiteY76" fmla="*/ 5626924 h 6849687"/>
                  <a:gd name="connsiteX77" fmla="*/ 5229688 w 9094123"/>
                  <a:gd name="connsiteY77" fmla="*/ 5573722 h 6849687"/>
                  <a:gd name="connsiteX78" fmla="*/ 5176486 w 9094123"/>
                  <a:gd name="connsiteY78" fmla="*/ 5560422 h 6849687"/>
                  <a:gd name="connsiteX79" fmla="*/ 5166427 w 9094123"/>
                  <a:gd name="connsiteY79" fmla="*/ 5569400 h 6849687"/>
                  <a:gd name="connsiteX80" fmla="*/ 4914054 w 9094123"/>
                  <a:gd name="connsiteY80" fmla="*/ 5435565 h 6849687"/>
                  <a:gd name="connsiteX81" fmla="*/ 4896459 w 9094123"/>
                  <a:gd name="connsiteY81" fmla="*/ 5395271 h 6849687"/>
                  <a:gd name="connsiteX82" fmla="*/ 4869082 w 9094123"/>
                  <a:gd name="connsiteY82" fmla="*/ 5397575 h 6849687"/>
                  <a:gd name="connsiteX83" fmla="*/ 4857527 w 9094123"/>
                  <a:gd name="connsiteY83" fmla="*/ 5438391 h 6849687"/>
                  <a:gd name="connsiteX84" fmla="*/ 4622526 w 9094123"/>
                  <a:gd name="connsiteY84" fmla="*/ 5585360 h 6849687"/>
                  <a:gd name="connsiteX85" fmla="*/ 4562169 w 9094123"/>
                  <a:gd name="connsiteY85" fmla="*/ 5574278 h 6849687"/>
                  <a:gd name="connsiteX86" fmla="*/ 4549790 w 9094123"/>
                  <a:gd name="connsiteY86" fmla="*/ 5587355 h 6849687"/>
                  <a:gd name="connsiteX87" fmla="*/ 4306144 w 9094123"/>
                  <a:gd name="connsiteY87" fmla="*/ 5457843 h 6849687"/>
                  <a:gd name="connsiteX88" fmla="*/ 4285256 w 9094123"/>
                  <a:gd name="connsiteY88" fmla="*/ 5419154 h 6849687"/>
                  <a:gd name="connsiteX89" fmla="*/ 4246567 w 9094123"/>
                  <a:gd name="connsiteY89" fmla="*/ 5440042 h 6849687"/>
                  <a:gd name="connsiteX90" fmla="*/ 4247207 w 9094123"/>
                  <a:gd name="connsiteY90" fmla="*/ 5459754 h 6849687"/>
                  <a:gd name="connsiteX91" fmla="*/ 3998905 w 9094123"/>
                  <a:gd name="connsiteY91" fmla="*/ 5614953 h 6849687"/>
                  <a:gd name="connsiteX92" fmla="*/ 3960085 w 9094123"/>
                  <a:gd name="connsiteY92" fmla="*/ 5609550 h 6849687"/>
                  <a:gd name="connsiteX93" fmla="*/ 3953019 w 9094123"/>
                  <a:gd name="connsiteY93" fmla="*/ 5615618 h 6849687"/>
                  <a:gd name="connsiteX94" fmla="*/ 3695324 w 9094123"/>
                  <a:gd name="connsiteY94" fmla="*/ 5478708 h 6849687"/>
                  <a:gd name="connsiteX95" fmla="*/ 3693080 w 9094123"/>
                  <a:gd name="connsiteY95" fmla="*/ 5451359 h 6849687"/>
                  <a:gd name="connsiteX96" fmla="*/ 3669223 w 9094123"/>
                  <a:gd name="connsiteY96" fmla="*/ 5436479 h 6849687"/>
                  <a:gd name="connsiteX97" fmla="*/ 3659330 w 9094123"/>
                  <a:gd name="connsiteY97" fmla="*/ 5150771 h 6849687"/>
                  <a:gd name="connsiteX98" fmla="*/ 3670553 w 9094123"/>
                  <a:gd name="connsiteY98" fmla="*/ 5146614 h 6849687"/>
                  <a:gd name="connsiteX99" fmla="*/ 3682440 w 9094123"/>
                  <a:gd name="connsiteY99" fmla="*/ 5102058 h 6849687"/>
                  <a:gd name="connsiteX100" fmla="*/ 3928829 w 9094123"/>
                  <a:gd name="connsiteY100" fmla="*/ 4948023 h 6849687"/>
                  <a:gd name="connsiteX101" fmla="*/ 3972715 w 9094123"/>
                  <a:gd name="connsiteY101" fmla="*/ 4950707 h 6849687"/>
                  <a:gd name="connsiteX102" fmla="*/ 3975398 w 9094123"/>
                  <a:gd name="connsiteY102" fmla="*/ 4906822 h 6849687"/>
                  <a:gd name="connsiteX103" fmla="*/ 3955181 w 9094123"/>
                  <a:gd name="connsiteY103" fmla="*/ 4896484 h 6849687"/>
                  <a:gd name="connsiteX104" fmla="*/ 3945455 w 9094123"/>
                  <a:gd name="connsiteY104" fmla="*/ 4620419 h 6849687"/>
                  <a:gd name="connsiteX105" fmla="*/ 3960417 w 9094123"/>
                  <a:gd name="connsiteY105" fmla="*/ 4615015 h 6849687"/>
                  <a:gd name="connsiteX106" fmla="*/ 3977043 w 9094123"/>
                  <a:gd name="connsiteY106" fmla="*/ 4557740 h 6849687"/>
                  <a:gd name="connsiteX107" fmla="*/ 4209799 w 9094123"/>
                  <a:gd name="connsiteY107" fmla="*/ 4412185 h 6849687"/>
                  <a:gd name="connsiteX108" fmla="*/ 4263409 w 9094123"/>
                  <a:gd name="connsiteY108" fmla="*/ 4421602 h 6849687"/>
                  <a:gd name="connsiteX109" fmla="*/ 4273225 w 9094123"/>
                  <a:gd name="connsiteY109" fmla="*/ 4411603 h 6849687"/>
                  <a:gd name="connsiteX110" fmla="*/ 4520113 w 9094123"/>
                  <a:gd name="connsiteY110" fmla="*/ 4542778 h 6849687"/>
                  <a:gd name="connsiteX111" fmla="*/ 4538293 w 9094123"/>
                  <a:gd name="connsiteY111" fmla="*/ 4582810 h 6849687"/>
                  <a:gd name="connsiteX112" fmla="*/ 4547712 w 9094123"/>
                  <a:gd name="connsiteY112" fmla="*/ 4584757 h 6849687"/>
                  <a:gd name="connsiteX113" fmla="*/ 4557936 w 9094123"/>
                  <a:gd name="connsiteY113" fmla="*/ 4875037 h 6849687"/>
                  <a:gd name="connsiteX114" fmla="*/ 4548876 w 9094123"/>
                  <a:gd name="connsiteY114" fmla="*/ 4878529 h 6849687"/>
                  <a:gd name="connsiteX115" fmla="*/ 4538617 w 9094123"/>
                  <a:gd name="connsiteY115" fmla="*/ 4921403 h 6849687"/>
                  <a:gd name="connsiteX116" fmla="*/ 4580963 w 9094123"/>
                  <a:gd name="connsiteY116" fmla="*/ 4931979 h 6849687"/>
                  <a:gd name="connsiteX117" fmla="*/ 4588777 w 9094123"/>
                  <a:gd name="connsiteY117" fmla="*/ 4925163 h 6849687"/>
                  <a:gd name="connsiteX118" fmla="*/ 4832589 w 9094123"/>
                  <a:gd name="connsiteY118" fmla="*/ 5054842 h 6849687"/>
                  <a:gd name="connsiteX119" fmla="*/ 4858204 w 9094123"/>
                  <a:gd name="connsiteY119" fmla="*/ 5110994 h 6849687"/>
                  <a:gd name="connsiteX120" fmla="*/ 4914356 w 9094123"/>
                  <a:gd name="connsiteY120" fmla="*/ 5085378 h 6849687"/>
                  <a:gd name="connsiteX121" fmla="*/ 4913555 w 9094123"/>
                  <a:gd name="connsiteY121" fmla="*/ 5052846 h 6849687"/>
                  <a:gd name="connsiteX122" fmla="*/ 5148971 w 9094123"/>
                  <a:gd name="connsiteY122" fmla="*/ 4905628 h 6849687"/>
                  <a:gd name="connsiteX123" fmla="*/ 5192712 w 9094123"/>
                  <a:gd name="connsiteY123" fmla="*/ 4910091 h 6849687"/>
                  <a:gd name="connsiteX124" fmla="*/ 5199513 w 9094123"/>
                  <a:gd name="connsiteY124" fmla="*/ 4869634 h 6849687"/>
                  <a:gd name="connsiteX125" fmla="*/ 5176570 w 9094123"/>
                  <a:gd name="connsiteY125" fmla="*/ 4854920 h 6849687"/>
                  <a:gd name="connsiteX126" fmla="*/ 5166594 w 9094123"/>
                  <a:gd name="connsiteY126" fmla="*/ 4571291 h 6849687"/>
                  <a:gd name="connsiteX127" fmla="*/ 5180892 w 9094123"/>
                  <a:gd name="connsiteY127" fmla="*/ 4566220 h 6849687"/>
                  <a:gd name="connsiteX128" fmla="*/ 5191670 w 9094123"/>
                  <a:gd name="connsiteY128" fmla="*/ 4512388 h 6849687"/>
                  <a:gd name="connsiteX129" fmla="*/ 5140991 w 9094123"/>
                  <a:gd name="connsiteY129" fmla="*/ 4499718 h 6849687"/>
                  <a:gd name="connsiteX130" fmla="*/ 5129021 w 9094123"/>
                  <a:gd name="connsiteY130" fmla="*/ 4511107 h 6849687"/>
                  <a:gd name="connsiteX131" fmla="*/ 4889614 w 9094123"/>
                  <a:gd name="connsiteY131" fmla="*/ 4384005 h 6849687"/>
                  <a:gd name="connsiteX132" fmla="*/ 4868369 w 9094123"/>
                  <a:gd name="connsiteY132" fmla="*/ 4325933 h 6849687"/>
                  <a:gd name="connsiteX133" fmla="*/ 4851874 w 9094123"/>
                  <a:gd name="connsiteY133" fmla="*/ 4321909 h 6849687"/>
                  <a:gd name="connsiteX134" fmla="*/ 4842149 w 9094123"/>
                  <a:gd name="connsiteY134" fmla="*/ 4045843 h 6849687"/>
                  <a:gd name="connsiteX135" fmla="*/ 4868764 w 9094123"/>
                  <a:gd name="connsiteY135" fmla="*/ 4011291 h 6849687"/>
                  <a:gd name="connsiteX136" fmla="*/ 4865840 w 9094123"/>
                  <a:gd name="connsiteY136" fmla="*/ 4001619 h 6849687"/>
                  <a:gd name="connsiteX137" fmla="*/ 5106244 w 9094123"/>
                  <a:gd name="connsiteY137" fmla="*/ 3851242 h 6849687"/>
                  <a:gd name="connsiteX138" fmla="*/ 5156120 w 9094123"/>
                  <a:gd name="connsiteY138" fmla="*/ 3860386 h 6849687"/>
                  <a:gd name="connsiteX139" fmla="*/ 5167342 w 9094123"/>
                  <a:gd name="connsiteY139" fmla="*/ 3850161 h 6849687"/>
                  <a:gd name="connsiteX140" fmla="*/ 5410407 w 9094123"/>
                  <a:gd name="connsiteY140" fmla="*/ 3979341 h 6849687"/>
                  <a:gd name="connsiteX141" fmla="*/ 5435456 w 9094123"/>
                  <a:gd name="connsiteY141" fmla="*/ 4027929 h 6849687"/>
                  <a:gd name="connsiteX142" fmla="*/ 5484044 w 9094123"/>
                  <a:gd name="connsiteY142" fmla="*/ 4002880 h 6849687"/>
                  <a:gd name="connsiteX143" fmla="*/ 5482810 w 9094123"/>
                  <a:gd name="connsiteY143" fmla="*/ 3976016 h 6849687"/>
                  <a:gd name="connsiteX144" fmla="*/ 5711743 w 9094123"/>
                  <a:gd name="connsiteY144" fmla="*/ 3832871 h 6849687"/>
                  <a:gd name="connsiteX145" fmla="*/ 5768602 w 9094123"/>
                  <a:gd name="connsiteY145" fmla="*/ 3843511 h 6849687"/>
                  <a:gd name="connsiteX146" fmla="*/ 5781986 w 9094123"/>
                  <a:gd name="connsiteY146" fmla="*/ 3830959 h 6849687"/>
                  <a:gd name="connsiteX147" fmla="*/ 6028458 w 9094123"/>
                  <a:gd name="connsiteY147" fmla="*/ 3962134 h 6849687"/>
                  <a:gd name="connsiteX148" fmla="*/ 6048025 w 9094123"/>
                  <a:gd name="connsiteY148" fmla="*/ 4001113 h 6849687"/>
                  <a:gd name="connsiteX149" fmla="*/ 6053978 w 9094123"/>
                  <a:gd name="connsiteY149" fmla="*/ 4002451 h 6849687"/>
                  <a:gd name="connsiteX150" fmla="*/ 6063787 w 9094123"/>
                  <a:gd name="connsiteY150" fmla="*/ 4282257 h 6849687"/>
                  <a:gd name="connsiteX151" fmla="*/ 6049073 w 9094123"/>
                  <a:gd name="connsiteY151" fmla="*/ 4287660 h 6849687"/>
                  <a:gd name="connsiteX152" fmla="*/ 6029369 w 9094123"/>
                  <a:gd name="connsiteY152" fmla="*/ 4346397 h 6849687"/>
                  <a:gd name="connsiteX153" fmla="*/ 6088106 w 9094123"/>
                  <a:gd name="connsiteY153" fmla="*/ 4366102 h 6849687"/>
                  <a:gd name="connsiteX154" fmla="*/ 6094129 w 9094123"/>
                  <a:gd name="connsiteY154" fmla="*/ 4362475 h 6849687"/>
                  <a:gd name="connsiteX155" fmla="*/ 6107512 w 9094123"/>
                  <a:gd name="connsiteY155" fmla="*/ 4349756 h 6849687"/>
                  <a:gd name="connsiteX156" fmla="*/ 6345172 w 9094123"/>
                  <a:gd name="connsiteY156" fmla="*/ 4476110 h 6849687"/>
                  <a:gd name="connsiteX157" fmla="*/ 6369560 w 9094123"/>
                  <a:gd name="connsiteY157" fmla="*/ 4525034 h 6849687"/>
                  <a:gd name="connsiteX158" fmla="*/ 6418484 w 9094123"/>
                  <a:gd name="connsiteY158" fmla="*/ 4500647 h 6849687"/>
                  <a:gd name="connsiteX159" fmla="*/ 6417160 w 9094123"/>
                  <a:gd name="connsiteY159" fmla="*/ 4472702 h 6849687"/>
                  <a:gd name="connsiteX160" fmla="*/ 6649917 w 9094123"/>
                  <a:gd name="connsiteY160" fmla="*/ 4327229 h 6849687"/>
                  <a:gd name="connsiteX161" fmla="*/ 6704390 w 9094123"/>
                  <a:gd name="connsiteY161" fmla="*/ 4333048 h 6849687"/>
                  <a:gd name="connsiteX162" fmla="*/ 6711598 w 9094123"/>
                  <a:gd name="connsiteY162" fmla="*/ 4325399 h 6849687"/>
                  <a:gd name="connsiteX163" fmla="*/ 6964138 w 9094123"/>
                  <a:gd name="connsiteY163" fmla="*/ 4459568 h 6849687"/>
                  <a:gd name="connsiteX164" fmla="*/ 6985381 w 9094123"/>
                  <a:gd name="connsiteY164" fmla="*/ 4496985 h 6849687"/>
                  <a:gd name="connsiteX165" fmla="*/ 7022798 w 9094123"/>
                  <a:gd name="connsiteY165" fmla="*/ 4475742 h 6849687"/>
                  <a:gd name="connsiteX166" fmla="*/ 7021247 w 9094123"/>
                  <a:gd name="connsiteY166" fmla="*/ 4455245 h 6849687"/>
                  <a:gd name="connsiteX167" fmla="*/ 7259572 w 9094123"/>
                  <a:gd name="connsiteY167" fmla="*/ 4306696 h 6849687"/>
                  <a:gd name="connsiteX168" fmla="*/ 7314263 w 9094123"/>
                  <a:gd name="connsiteY168" fmla="*/ 4309881 h 6849687"/>
                  <a:gd name="connsiteX169" fmla="*/ 7321502 w 9094123"/>
                  <a:gd name="connsiteY169" fmla="*/ 4260644 h 6849687"/>
                  <a:gd name="connsiteX170" fmla="*/ 7292990 w 9094123"/>
                  <a:gd name="connsiteY170" fmla="*/ 4242190 h 6849687"/>
                  <a:gd name="connsiteX171" fmla="*/ 7283014 w 9094123"/>
                  <a:gd name="connsiteY171" fmla="*/ 3958726 h 6849687"/>
                  <a:gd name="connsiteX172" fmla="*/ 7295234 w 9094123"/>
                  <a:gd name="connsiteY172" fmla="*/ 3954569 h 6849687"/>
                  <a:gd name="connsiteX173" fmla="*/ 7307953 w 9094123"/>
                  <a:gd name="connsiteY173" fmla="*/ 3916081 h 6849687"/>
                  <a:gd name="connsiteX174" fmla="*/ 7541374 w 9094123"/>
                  <a:gd name="connsiteY174" fmla="*/ 3769943 h 6849687"/>
                  <a:gd name="connsiteX175" fmla="*/ 7597817 w 9094123"/>
                  <a:gd name="connsiteY175" fmla="*/ 3780085 h 6849687"/>
                  <a:gd name="connsiteX176" fmla="*/ 7611367 w 9094123"/>
                  <a:gd name="connsiteY176" fmla="*/ 3767200 h 6849687"/>
                  <a:gd name="connsiteX177" fmla="*/ 7857258 w 9094123"/>
                  <a:gd name="connsiteY177" fmla="*/ 3897876 h 6849687"/>
                  <a:gd name="connsiteX178" fmla="*/ 7874976 w 9094123"/>
                  <a:gd name="connsiteY178" fmla="*/ 3938115 h 6849687"/>
                  <a:gd name="connsiteX179" fmla="*/ 7915215 w 9094123"/>
                  <a:gd name="connsiteY179" fmla="*/ 3920397 h 6849687"/>
                  <a:gd name="connsiteX180" fmla="*/ 7914948 w 9094123"/>
                  <a:gd name="connsiteY180" fmla="*/ 3897212 h 6849687"/>
                  <a:gd name="connsiteX181" fmla="*/ 8156017 w 9094123"/>
                  <a:gd name="connsiteY181" fmla="*/ 3746585 h 6849687"/>
                  <a:gd name="connsiteX182" fmla="*/ 8210684 w 9094123"/>
                  <a:gd name="connsiteY182" fmla="*/ 3750154 h 6849687"/>
                  <a:gd name="connsiteX183" fmla="*/ 8214253 w 9094123"/>
                  <a:gd name="connsiteY183" fmla="*/ 3695488 h 6849687"/>
                  <a:gd name="connsiteX184" fmla="*/ 8189767 w 9094123"/>
                  <a:gd name="connsiteY184" fmla="*/ 3682577 h 6849687"/>
                  <a:gd name="connsiteX185" fmla="*/ 8180290 w 9094123"/>
                  <a:gd name="connsiteY185" fmla="*/ 3413494 h 6849687"/>
                  <a:gd name="connsiteX186" fmla="*/ 8219882 w 9094123"/>
                  <a:gd name="connsiteY186" fmla="*/ 3365994 h 6849687"/>
                  <a:gd name="connsiteX187" fmla="*/ 8172382 w 9094123"/>
                  <a:gd name="connsiteY187" fmla="*/ 3326402 h 6849687"/>
                  <a:gd name="connsiteX188" fmla="*/ 8153856 w 9094123"/>
                  <a:gd name="connsiteY188" fmla="*/ 3332445 h 6849687"/>
                  <a:gd name="connsiteX189" fmla="*/ 8139641 w 9094123"/>
                  <a:gd name="connsiteY189" fmla="*/ 3346493 h 6849687"/>
                  <a:gd name="connsiteX190" fmla="*/ 7891922 w 9094123"/>
                  <a:gd name="connsiteY190" fmla="*/ 3214903 h 6849687"/>
                  <a:gd name="connsiteX191" fmla="*/ 7873257 w 9094123"/>
                  <a:gd name="connsiteY191" fmla="*/ 3175094 h 6849687"/>
                  <a:gd name="connsiteX192" fmla="*/ 7833448 w 9094123"/>
                  <a:gd name="connsiteY192" fmla="*/ 3193759 h 6849687"/>
                  <a:gd name="connsiteX193" fmla="*/ 7834398 w 9094123"/>
                  <a:gd name="connsiteY193" fmla="*/ 3217230 h 6849687"/>
                  <a:gd name="connsiteX194" fmla="*/ 7586844 w 9094123"/>
                  <a:gd name="connsiteY194" fmla="*/ 3372013 h 6849687"/>
                  <a:gd name="connsiteX195" fmla="*/ 7546195 w 9094123"/>
                  <a:gd name="connsiteY195" fmla="*/ 3364282 h 6849687"/>
                  <a:gd name="connsiteX196" fmla="*/ 7537384 w 9094123"/>
                  <a:gd name="connsiteY196" fmla="*/ 3372595 h 6849687"/>
                  <a:gd name="connsiteX197" fmla="*/ 7288002 w 9094123"/>
                  <a:gd name="connsiteY197" fmla="*/ 3240090 h 6849687"/>
                  <a:gd name="connsiteX198" fmla="*/ 7266172 w 9094123"/>
                  <a:gd name="connsiteY198" fmla="*/ 3189973 h 6849687"/>
                  <a:gd name="connsiteX199" fmla="*/ 7216055 w 9094123"/>
                  <a:gd name="connsiteY199" fmla="*/ 3211803 h 6849687"/>
                  <a:gd name="connsiteX200" fmla="*/ 7217178 w 9094123"/>
                  <a:gd name="connsiteY200" fmla="*/ 3242667 h 6849687"/>
                  <a:gd name="connsiteX201" fmla="*/ 6993233 w 9094123"/>
                  <a:gd name="connsiteY201" fmla="*/ 3382321 h 6849687"/>
                  <a:gd name="connsiteX202" fmla="*/ 6923452 w 9094123"/>
                  <a:gd name="connsiteY202" fmla="*/ 3372029 h 6849687"/>
                  <a:gd name="connsiteX203" fmla="*/ 6913160 w 9094123"/>
                  <a:gd name="connsiteY203" fmla="*/ 3441810 h 6849687"/>
                  <a:gd name="connsiteX204" fmla="*/ 6950589 w 9094123"/>
                  <a:gd name="connsiteY204" fmla="*/ 3461873 h 6849687"/>
                  <a:gd name="connsiteX205" fmla="*/ 6959899 w 9094123"/>
                  <a:gd name="connsiteY205" fmla="*/ 3726884 h 6849687"/>
                  <a:gd name="connsiteX206" fmla="*/ 6946100 w 9094123"/>
                  <a:gd name="connsiteY206" fmla="*/ 3731871 h 6849687"/>
                  <a:gd name="connsiteX207" fmla="*/ 6931054 w 9094123"/>
                  <a:gd name="connsiteY207" fmla="*/ 3781748 h 6849687"/>
                  <a:gd name="connsiteX208" fmla="*/ 6689985 w 9094123"/>
                  <a:gd name="connsiteY208" fmla="*/ 3932374 h 6849687"/>
                  <a:gd name="connsiteX209" fmla="*/ 6650998 w 9094123"/>
                  <a:gd name="connsiteY209" fmla="*/ 3926721 h 6849687"/>
                  <a:gd name="connsiteX210" fmla="*/ 6643101 w 9094123"/>
                  <a:gd name="connsiteY210" fmla="*/ 3933621 h 6849687"/>
                  <a:gd name="connsiteX211" fmla="*/ 6401283 w 9094123"/>
                  <a:gd name="connsiteY211" fmla="*/ 3805190 h 6849687"/>
                  <a:gd name="connsiteX212" fmla="*/ 6375978 w 9094123"/>
                  <a:gd name="connsiteY212" fmla="*/ 3739349 h 6849687"/>
                  <a:gd name="connsiteX213" fmla="*/ 6358307 w 9094123"/>
                  <a:gd name="connsiteY213" fmla="*/ 3735113 h 6849687"/>
                  <a:gd name="connsiteX214" fmla="*/ 6348747 w 9094123"/>
                  <a:gd name="connsiteY214" fmla="*/ 3464201 h 6849687"/>
                  <a:gd name="connsiteX215" fmla="*/ 6358640 w 9094123"/>
                  <a:gd name="connsiteY215" fmla="*/ 3460460 h 6849687"/>
                  <a:gd name="connsiteX216" fmla="*/ 6370942 w 9094123"/>
                  <a:gd name="connsiteY216" fmla="*/ 3420975 h 6849687"/>
                  <a:gd name="connsiteX217" fmla="*/ 6611596 w 9094123"/>
                  <a:gd name="connsiteY217" fmla="*/ 3270515 h 6849687"/>
                  <a:gd name="connsiteX218" fmla="*/ 6666008 w 9094123"/>
                  <a:gd name="connsiteY218" fmla="*/ 3276875 h 6849687"/>
                  <a:gd name="connsiteX219" fmla="*/ 6675188 w 9094123"/>
                  <a:gd name="connsiteY219" fmla="*/ 3226541 h 6849687"/>
                  <a:gd name="connsiteX220" fmla="*/ 6644514 w 9094123"/>
                  <a:gd name="connsiteY220" fmla="*/ 3207837 h 6849687"/>
                  <a:gd name="connsiteX221" fmla="*/ 6635204 w 9094123"/>
                  <a:gd name="connsiteY221" fmla="*/ 2941830 h 6849687"/>
                  <a:gd name="connsiteX222" fmla="*/ 6654074 w 9094123"/>
                  <a:gd name="connsiteY222" fmla="*/ 2935179 h 6849687"/>
                  <a:gd name="connsiteX223" fmla="*/ 6673526 w 9094123"/>
                  <a:gd name="connsiteY223" fmla="*/ 2871171 h 6849687"/>
                  <a:gd name="connsiteX224" fmla="*/ 6906282 w 9094123"/>
                  <a:gd name="connsiteY224" fmla="*/ 2725865 h 6849687"/>
                  <a:gd name="connsiteX225" fmla="*/ 6949092 w 9094123"/>
                  <a:gd name="connsiteY225" fmla="*/ 2733429 h 6849687"/>
                  <a:gd name="connsiteX226" fmla="*/ 6957405 w 9094123"/>
                  <a:gd name="connsiteY226" fmla="*/ 2726447 h 6849687"/>
                  <a:gd name="connsiteX227" fmla="*/ 7195648 w 9094123"/>
                  <a:gd name="connsiteY227" fmla="*/ 2853050 h 6849687"/>
                  <a:gd name="connsiteX228" fmla="*/ 7215498 w 9094123"/>
                  <a:gd name="connsiteY228" fmla="*/ 2920735 h 6849687"/>
                  <a:gd name="connsiteX229" fmla="*/ 7283183 w 9094123"/>
                  <a:gd name="connsiteY229" fmla="*/ 2900884 h 6849687"/>
                  <a:gd name="connsiteX230" fmla="*/ 7282183 w 9094123"/>
                  <a:gd name="connsiteY230" fmla="*/ 2851304 h 6849687"/>
                  <a:gd name="connsiteX231" fmla="*/ 7509453 w 9094123"/>
                  <a:gd name="connsiteY231" fmla="*/ 2709156 h 6849687"/>
                  <a:gd name="connsiteX232" fmla="*/ 7564004 w 9094123"/>
                  <a:gd name="connsiteY232" fmla="*/ 2714187 h 6849687"/>
                  <a:gd name="connsiteX233" fmla="*/ 7569035 w 9094123"/>
                  <a:gd name="connsiteY233" fmla="*/ 2659635 h 6849687"/>
                  <a:gd name="connsiteX234" fmla="*/ 7542704 w 9094123"/>
                  <a:gd name="connsiteY234" fmla="*/ 2645813 h 6849687"/>
                  <a:gd name="connsiteX235" fmla="*/ 7533061 w 9094123"/>
                  <a:gd name="connsiteY235" fmla="*/ 2383713 h 6849687"/>
                  <a:gd name="connsiteX236" fmla="*/ 7576791 w 9094123"/>
                  <a:gd name="connsiteY236" fmla="*/ 2328369 h 6849687"/>
                  <a:gd name="connsiteX237" fmla="*/ 7571051 w 9094123"/>
                  <a:gd name="connsiteY237" fmla="*/ 2310312 h 6849687"/>
                  <a:gd name="connsiteX238" fmla="*/ 7785768 w 9094123"/>
                  <a:gd name="connsiteY238" fmla="*/ 2176061 h 6849687"/>
                  <a:gd name="connsiteX239" fmla="*/ 7855636 w 9094123"/>
                  <a:gd name="connsiteY239" fmla="*/ 2185752 h 6849687"/>
                  <a:gd name="connsiteX240" fmla="*/ 7866984 w 9094123"/>
                  <a:gd name="connsiteY240" fmla="*/ 2173734 h 6849687"/>
                  <a:gd name="connsiteX241" fmla="*/ 8106640 w 9094123"/>
                  <a:gd name="connsiteY241" fmla="*/ 2301001 h 6849687"/>
                  <a:gd name="connsiteX242" fmla="*/ 8125956 w 9094123"/>
                  <a:gd name="connsiteY242" fmla="*/ 2340498 h 6849687"/>
                  <a:gd name="connsiteX243" fmla="*/ 8165453 w 9094123"/>
                  <a:gd name="connsiteY243" fmla="*/ 2321182 h 6849687"/>
                  <a:gd name="connsiteX244" fmla="*/ 8164829 w 9094123"/>
                  <a:gd name="connsiteY244" fmla="*/ 2299339 h 6849687"/>
                  <a:gd name="connsiteX245" fmla="*/ 8398000 w 9094123"/>
                  <a:gd name="connsiteY245" fmla="*/ 2153700 h 6849687"/>
                  <a:gd name="connsiteX246" fmla="*/ 8463837 w 9094123"/>
                  <a:gd name="connsiteY246" fmla="*/ 2166917 h 6849687"/>
                  <a:gd name="connsiteX247" fmla="*/ 8478717 w 9094123"/>
                  <a:gd name="connsiteY247" fmla="*/ 2153118 h 6849687"/>
                  <a:gd name="connsiteX248" fmla="*/ 8715463 w 9094123"/>
                  <a:gd name="connsiteY248" fmla="*/ 2278391 h 6849687"/>
                  <a:gd name="connsiteX249" fmla="*/ 8735528 w 9094123"/>
                  <a:gd name="connsiteY249" fmla="*/ 2317513 h 6849687"/>
                  <a:gd name="connsiteX250" fmla="*/ 8774650 w 9094123"/>
                  <a:gd name="connsiteY250" fmla="*/ 2297449 h 6849687"/>
                  <a:gd name="connsiteX251" fmla="*/ 8774650 w 9094123"/>
                  <a:gd name="connsiteY251" fmla="*/ 2278391 h 6849687"/>
                  <a:gd name="connsiteX252" fmla="*/ 9005827 w 9094123"/>
                  <a:gd name="connsiteY252" fmla="*/ 2133832 h 6849687"/>
                  <a:gd name="connsiteX253" fmla="*/ 9076029 w 9094123"/>
                  <a:gd name="connsiteY253" fmla="*/ 2140684 h 6849687"/>
                  <a:gd name="connsiteX254" fmla="*/ 9082880 w 9094123"/>
                  <a:gd name="connsiteY254" fmla="*/ 2070481 h 6849687"/>
                  <a:gd name="connsiteX255" fmla="*/ 9048471 w 9094123"/>
                  <a:gd name="connsiteY255" fmla="*/ 2052451 h 6849687"/>
                  <a:gd name="connsiteX256" fmla="*/ 9038995 w 9094123"/>
                  <a:gd name="connsiteY256" fmla="*/ 1783783 h 6849687"/>
                  <a:gd name="connsiteX257" fmla="*/ 9049385 w 9094123"/>
                  <a:gd name="connsiteY257" fmla="*/ 1779960 h 6849687"/>
                  <a:gd name="connsiteX258" fmla="*/ 9060109 w 9094123"/>
                  <a:gd name="connsiteY258" fmla="*/ 1737149 h 6849687"/>
                  <a:gd name="connsiteX259" fmla="*/ 9017298 w 9094123"/>
                  <a:gd name="connsiteY259" fmla="*/ 1726426 h 6849687"/>
                  <a:gd name="connsiteX260" fmla="*/ 9008985 w 9094123"/>
                  <a:gd name="connsiteY260" fmla="*/ 1733492 h 6849687"/>
                  <a:gd name="connsiteX261" fmla="*/ 8768415 w 9094123"/>
                  <a:gd name="connsiteY261" fmla="*/ 1605725 h 6849687"/>
                  <a:gd name="connsiteX262" fmla="*/ 8742555 w 9094123"/>
                  <a:gd name="connsiteY262" fmla="*/ 1540101 h 6849687"/>
                  <a:gd name="connsiteX263" fmla="*/ 8676931 w 9094123"/>
                  <a:gd name="connsiteY263" fmla="*/ 1565961 h 6849687"/>
                  <a:gd name="connsiteX264" fmla="*/ 8678056 w 9094123"/>
                  <a:gd name="connsiteY264" fmla="*/ 1608136 h 6849687"/>
                  <a:gd name="connsiteX265" fmla="*/ 8446547 w 9094123"/>
                  <a:gd name="connsiteY265" fmla="*/ 1753026 h 6849687"/>
                  <a:gd name="connsiteX266" fmla="*/ 8407477 w 9094123"/>
                  <a:gd name="connsiteY266" fmla="*/ 1747290 h 6849687"/>
                  <a:gd name="connsiteX267" fmla="*/ 8399164 w 9094123"/>
                  <a:gd name="connsiteY267" fmla="*/ 1755021 h 6849687"/>
                  <a:gd name="connsiteX268" fmla="*/ 8146624 w 9094123"/>
                  <a:gd name="connsiteY268" fmla="*/ 1620771 h 6849687"/>
                  <a:gd name="connsiteX269" fmla="*/ 8126103 w 9094123"/>
                  <a:gd name="connsiteY269" fmla="*/ 1574316 h 6849687"/>
                  <a:gd name="connsiteX270" fmla="*/ 8079648 w 9094123"/>
                  <a:gd name="connsiteY270" fmla="*/ 1594836 h 6849687"/>
                  <a:gd name="connsiteX271" fmla="*/ 8080122 w 9094123"/>
                  <a:gd name="connsiteY271" fmla="*/ 1621935 h 6849687"/>
                  <a:gd name="connsiteX272" fmla="*/ 7837307 w 9094123"/>
                  <a:gd name="connsiteY272" fmla="*/ 1773725 h 6849687"/>
                  <a:gd name="connsiteX273" fmla="*/ 7797156 w 9094123"/>
                  <a:gd name="connsiteY273" fmla="*/ 1766493 h 6849687"/>
                  <a:gd name="connsiteX274" fmla="*/ 7787597 w 9094123"/>
                  <a:gd name="connsiteY274" fmla="*/ 1775554 h 6849687"/>
                  <a:gd name="connsiteX275" fmla="*/ 7547359 w 9094123"/>
                  <a:gd name="connsiteY275" fmla="*/ 1647954 h 6849687"/>
                  <a:gd name="connsiteX276" fmla="*/ 7522622 w 9094123"/>
                  <a:gd name="connsiteY276" fmla="*/ 1581898 h 6849687"/>
                  <a:gd name="connsiteX277" fmla="*/ 7504050 w 9094123"/>
                  <a:gd name="connsiteY277" fmla="*/ 1577461 h 6849687"/>
                  <a:gd name="connsiteX278" fmla="*/ 7494657 w 9094123"/>
                  <a:gd name="connsiteY278" fmla="*/ 1308961 h 6849687"/>
                  <a:gd name="connsiteX279" fmla="*/ 7505048 w 9094123"/>
                  <a:gd name="connsiteY279" fmla="*/ 1305137 h 6849687"/>
                  <a:gd name="connsiteX280" fmla="*/ 7516353 w 9094123"/>
                  <a:gd name="connsiteY280" fmla="*/ 1263573 h 6849687"/>
                  <a:gd name="connsiteX281" fmla="*/ 7759583 w 9094123"/>
                  <a:gd name="connsiteY281" fmla="*/ 1111533 h 6849687"/>
                  <a:gd name="connsiteX282" fmla="*/ 7810149 w 9094123"/>
                  <a:gd name="connsiteY282" fmla="*/ 1116260 h 6849687"/>
                  <a:gd name="connsiteX283" fmla="*/ 7814876 w 9094123"/>
                  <a:gd name="connsiteY283" fmla="*/ 1065695 h 6849687"/>
                  <a:gd name="connsiteX284" fmla="*/ 7790424 w 9094123"/>
                  <a:gd name="connsiteY284" fmla="*/ 1052845 h 6849687"/>
                  <a:gd name="connsiteX285" fmla="*/ 7780365 w 9094123"/>
                  <a:gd name="connsiteY285" fmla="*/ 767469 h 6849687"/>
                  <a:gd name="connsiteX286" fmla="*/ 7788678 w 9094123"/>
                  <a:gd name="connsiteY286" fmla="*/ 764061 h 6849687"/>
                  <a:gd name="connsiteX287" fmla="*/ 7801147 w 9094123"/>
                  <a:gd name="connsiteY287" fmla="*/ 724991 h 6849687"/>
                  <a:gd name="connsiteX288" fmla="*/ 8042216 w 9094123"/>
                  <a:gd name="connsiteY288" fmla="*/ 574115 h 6849687"/>
                  <a:gd name="connsiteX289" fmla="*/ 8096804 w 9094123"/>
                  <a:gd name="connsiteY289" fmla="*/ 578732 h 6849687"/>
                  <a:gd name="connsiteX290" fmla="*/ 8101420 w 9094123"/>
                  <a:gd name="connsiteY290" fmla="*/ 524144 h 6849687"/>
                  <a:gd name="connsiteX291" fmla="*/ 8075882 w 9094123"/>
                  <a:gd name="connsiteY291" fmla="*/ 510606 h 6849687"/>
                  <a:gd name="connsiteX292" fmla="*/ 8065990 w 9094123"/>
                  <a:gd name="connsiteY292" fmla="*/ 229553 h 6849687"/>
                  <a:gd name="connsiteX293" fmla="*/ 8075716 w 9094123"/>
                  <a:gd name="connsiteY293" fmla="*/ 225895 h 6849687"/>
                  <a:gd name="connsiteX294" fmla="*/ 8085975 w 9094123"/>
                  <a:gd name="connsiteY294" fmla="*/ 183021 h 6849687"/>
                  <a:gd name="connsiteX295" fmla="*/ 8043629 w 9094123"/>
                  <a:gd name="connsiteY295" fmla="*/ 172444 h 6849687"/>
                  <a:gd name="connsiteX296" fmla="*/ 8035316 w 9094123"/>
                  <a:gd name="connsiteY296" fmla="*/ 179344 h 6849687"/>
                  <a:gd name="connsiteX297" fmla="*/ 7779118 w 9094123"/>
                  <a:gd name="connsiteY297" fmla="*/ 42849 h 6849687"/>
                  <a:gd name="connsiteX298" fmla="*/ 7762086 w 9094123"/>
                  <a:gd name="connsiteY298" fmla="*/ 2315 h 6849687"/>
                  <a:gd name="connsiteX299" fmla="*/ 7721551 w 9094123"/>
                  <a:gd name="connsiteY299" fmla="*/ 19347 h 6849687"/>
                  <a:gd name="connsiteX300" fmla="*/ 7722093 w 9094123"/>
                  <a:gd name="connsiteY300" fmla="*/ 44096 h 6849687"/>
                  <a:gd name="connsiteX301" fmla="*/ 7480276 w 9094123"/>
                  <a:gd name="connsiteY301" fmla="*/ 195304 h 6849687"/>
                  <a:gd name="connsiteX302" fmla="*/ 7425855 w 9094123"/>
                  <a:gd name="connsiteY302" fmla="*/ 190143 h 6849687"/>
                  <a:gd name="connsiteX303" fmla="*/ 7420693 w 9094123"/>
                  <a:gd name="connsiteY303" fmla="*/ 244564 h 6849687"/>
                  <a:gd name="connsiteX304" fmla="*/ 7447607 w 9094123"/>
                  <a:gd name="connsiteY304" fmla="*/ 258481 h 6849687"/>
                  <a:gd name="connsiteX305" fmla="*/ 7457582 w 9094123"/>
                  <a:gd name="connsiteY305" fmla="*/ 541114 h 6849687"/>
                  <a:gd name="connsiteX306" fmla="*/ 7446692 w 9094123"/>
                  <a:gd name="connsiteY306" fmla="*/ 545021 h 6849687"/>
                  <a:gd name="connsiteX307" fmla="*/ 7434473 w 9094123"/>
                  <a:gd name="connsiteY307" fmla="*/ 584506 h 6849687"/>
                  <a:gd name="connsiteX308" fmla="*/ 7187501 w 9094123"/>
                  <a:gd name="connsiteY308" fmla="*/ 738957 h 6849687"/>
                  <a:gd name="connsiteX309" fmla="*/ 7143507 w 9094123"/>
                  <a:gd name="connsiteY309" fmla="*/ 736124 h 6849687"/>
                  <a:gd name="connsiteX310" fmla="*/ 7140674 w 9094123"/>
                  <a:gd name="connsiteY310" fmla="*/ 780117 h 6849687"/>
                  <a:gd name="connsiteX311" fmla="*/ 7161233 w 9094123"/>
                  <a:gd name="connsiteY311" fmla="*/ 790579 h 6849687"/>
                  <a:gd name="connsiteX312" fmla="*/ 7171208 w 9094123"/>
                  <a:gd name="connsiteY312" fmla="*/ 1072547 h 6849687"/>
                  <a:gd name="connsiteX313" fmla="*/ 7156245 w 9094123"/>
                  <a:gd name="connsiteY313" fmla="*/ 1077784 h 6849687"/>
                  <a:gd name="connsiteX314" fmla="*/ 7141532 w 9094123"/>
                  <a:gd name="connsiteY314" fmla="*/ 1127660 h 6849687"/>
                  <a:gd name="connsiteX315" fmla="*/ 6917920 w 9094123"/>
                  <a:gd name="connsiteY315" fmla="*/ 1267314 h 6849687"/>
                  <a:gd name="connsiteX316" fmla="*/ 6853246 w 9094123"/>
                  <a:gd name="connsiteY316" fmla="*/ 1255593 h 6849687"/>
                  <a:gd name="connsiteX317" fmla="*/ 6837702 w 9094123"/>
                  <a:gd name="connsiteY317" fmla="*/ 1270306 h 6849687"/>
                  <a:gd name="connsiteX318" fmla="*/ 6597131 w 9094123"/>
                  <a:gd name="connsiteY318" fmla="*/ 1142540 h 6849687"/>
                  <a:gd name="connsiteX319" fmla="*/ 6577815 w 9094123"/>
                  <a:gd name="connsiteY319" fmla="*/ 1103043 h 6849687"/>
                  <a:gd name="connsiteX320" fmla="*/ 6538318 w 9094123"/>
                  <a:gd name="connsiteY320" fmla="*/ 1122359 h 6849687"/>
                  <a:gd name="connsiteX321" fmla="*/ 6538942 w 9094123"/>
                  <a:gd name="connsiteY321" fmla="*/ 1144202 h 6849687"/>
                  <a:gd name="connsiteX322" fmla="*/ 6299203 w 9094123"/>
                  <a:gd name="connsiteY322" fmla="*/ 1293831 h 6849687"/>
                  <a:gd name="connsiteX323" fmla="*/ 6244918 w 9094123"/>
                  <a:gd name="connsiteY323" fmla="*/ 1287393 h 6849687"/>
                  <a:gd name="connsiteX324" fmla="*/ 6238480 w 9094123"/>
                  <a:gd name="connsiteY324" fmla="*/ 1341678 h 6849687"/>
                  <a:gd name="connsiteX325" fmla="*/ 6265454 w 9094123"/>
                  <a:gd name="connsiteY325" fmla="*/ 1356260 h 6849687"/>
                  <a:gd name="connsiteX326" fmla="*/ 6275429 w 9094123"/>
                  <a:gd name="connsiteY326" fmla="*/ 1638893 h 6849687"/>
                  <a:gd name="connsiteX327" fmla="*/ 6266119 w 9094123"/>
                  <a:gd name="connsiteY327" fmla="*/ 1642467 h 6849687"/>
                  <a:gd name="connsiteX328" fmla="*/ 6255014 w 9094123"/>
                  <a:gd name="connsiteY328" fmla="*/ 1685130 h 6849687"/>
                  <a:gd name="connsiteX329" fmla="*/ 6297677 w 9094123"/>
                  <a:gd name="connsiteY329" fmla="*/ 1696235 h 6849687"/>
                  <a:gd name="connsiteX330" fmla="*/ 6298206 w 9094123"/>
                  <a:gd name="connsiteY330" fmla="*/ 1695918 h 6849687"/>
                  <a:gd name="connsiteX331" fmla="*/ 6306103 w 9094123"/>
                  <a:gd name="connsiteY331" fmla="*/ 1688935 h 6849687"/>
                  <a:gd name="connsiteX332" fmla="*/ 6563798 w 9094123"/>
                  <a:gd name="connsiteY332" fmla="*/ 1825763 h 6849687"/>
                  <a:gd name="connsiteX333" fmla="*/ 6566375 w 9094123"/>
                  <a:gd name="connsiteY333" fmla="*/ 1851865 h 6849687"/>
                  <a:gd name="connsiteX334" fmla="*/ 6609333 w 9094123"/>
                  <a:gd name="connsiteY334" fmla="*/ 1861764 h 6849687"/>
                  <a:gd name="connsiteX335" fmla="*/ 6621405 w 9094123"/>
                  <a:gd name="connsiteY335" fmla="*/ 1822937 h 6849687"/>
                  <a:gd name="connsiteX336" fmla="*/ 6860978 w 9094123"/>
                  <a:gd name="connsiteY336" fmla="*/ 1673307 h 6849687"/>
                  <a:gd name="connsiteX337" fmla="*/ 6910854 w 9094123"/>
                  <a:gd name="connsiteY337" fmla="*/ 1681620 h 6849687"/>
                  <a:gd name="connsiteX338" fmla="*/ 6922492 w 9094123"/>
                  <a:gd name="connsiteY338" fmla="*/ 1670814 h 6849687"/>
                  <a:gd name="connsiteX339" fmla="*/ 7172538 w 9094123"/>
                  <a:gd name="connsiteY339" fmla="*/ 1803817 h 6849687"/>
                  <a:gd name="connsiteX340" fmla="*/ 7190830 w 9094123"/>
                  <a:gd name="connsiteY340" fmla="*/ 1843540 h 6849687"/>
                  <a:gd name="connsiteX341" fmla="*/ 7199388 w 9094123"/>
                  <a:gd name="connsiteY341" fmla="*/ 1845381 h 6849687"/>
                  <a:gd name="connsiteX342" fmla="*/ 7208865 w 9094123"/>
                  <a:gd name="connsiteY342" fmla="*/ 2118537 h 6849687"/>
                  <a:gd name="connsiteX343" fmla="*/ 7165743 w 9094123"/>
                  <a:gd name="connsiteY343" fmla="*/ 2174356 h 6849687"/>
                  <a:gd name="connsiteX344" fmla="*/ 7170709 w 9094123"/>
                  <a:gd name="connsiteY344" fmla="*/ 2190525 h 6849687"/>
                  <a:gd name="connsiteX345" fmla="*/ 6946848 w 9094123"/>
                  <a:gd name="connsiteY345" fmla="*/ 2330511 h 6849687"/>
                  <a:gd name="connsiteX346" fmla="*/ 6896971 w 9094123"/>
                  <a:gd name="connsiteY346" fmla="*/ 2322199 h 6849687"/>
                  <a:gd name="connsiteX347" fmla="*/ 6885417 w 9094123"/>
                  <a:gd name="connsiteY347" fmla="*/ 2332839 h 6849687"/>
                  <a:gd name="connsiteX348" fmla="*/ 6643600 w 9094123"/>
                  <a:gd name="connsiteY348" fmla="*/ 2203576 h 6849687"/>
                  <a:gd name="connsiteX349" fmla="*/ 6623392 w 9094123"/>
                  <a:gd name="connsiteY349" fmla="*/ 2152656 h 6849687"/>
                  <a:gd name="connsiteX350" fmla="*/ 6572473 w 9094123"/>
                  <a:gd name="connsiteY350" fmla="*/ 2172864 h 6849687"/>
                  <a:gd name="connsiteX351" fmla="*/ 6572692 w 9094123"/>
                  <a:gd name="connsiteY351" fmla="*/ 2204075 h 6849687"/>
                  <a:gd name="connsiteX352" fmla="*/ 6346752 w 9094123"/>
                  <a:gd name="connsiteY352" fmla="*/ 2345391 h 6849687"/>
                  <a:gd name="connsiteX353" fmla="*/ 6277111 w 9094123"/>
                  <a:gd name="connsiteY353" fmla="*/ 2334191 h 6849687"/>
                  <a:gd name="connsiteX354" fmla="*/ 6265910 w 9094123"/>
                  <a:gd name="connsiteY354" fmla="*/ 2403832 h 6849687"/>
                  <a:gd name="connsiteX355" fmla="*/ 6304274 w 9094123"/>
                  <a:gd name="connsiteY355" fmla="*/ 2424445 h 6849687"/>
                  <a:gd name="connsiteX356" fmla="*/ 6313834 w 9094123"/>
                  <a:gd name="connsiteY356" fmla="*/ 2697103 h 6849687"/>
                  <a:gd name="connsiteX357" fmla="*/ 6303360 w 9094123"/>
                  <a:gd name="connsiteY357" fmla="*/ 2700844 h 6849687"/>
                  <a:gd name="connsiteX358" fmla="*/ 6292802 w 9094123"/>
                  <a:gd name="connsiteY358" fmla="*/ 2739498 h 6849687"/>
                  <a:gd name="connsiteX359" fmla="*/ 6044584 w 9094123"/>
                  <a:gd name="connsiteY359" fmla="*/ 2894697 h 6849687"/>
                  <a:gd name="connsiteX360" fmla="*/ 5997751 w 9094123"/>
                  <a:gd name="connsiteY360" fmla="*/ 2890469 h 6849687"/>
                  <a:gd name="connsiteX361" fmla="*/ 5993524 w 9094123"/>
                  <a:gd name="connsiteY361" fmla="*/ 2937303 h 6849687"/>
                  <a:gd name="connsiteX362" fmla="*/ 6016404 w 9094123"/>
                  <a:gd name="connsiteY362" fmla="*/ 2949145 h 6849687"/>
                  <a:gd name="connsiteX363" fmla="*/ 6026047 w 9094123"/>
                  <a:gd name="connsiteY363" fmla="*/ 3223465 h 6849687"/>
                  <a:gd name="connsiteX364" fmla="*/ 6009422 w 9094123"/>
                  <a:gd name="connsiteY364" fmla="*/ 3229201 h 6849687"/>
                  <a:gd name="connsiteX365" fmla="*/ 5992796 w 9094123"/>
                  <a:gd name="connsiteY365" fmla="*/ 3286642 h 6849687"/>
                  <a:gd name="connsiteX366" fmla="*/ 5767604 w 9094123"/>
                  <a:gd name="connsiteY366" fmla="*/ 3427459 h 6849687"/>
                  <a:gd name="connsiteX367" fmla="*/ 5714138 w 9094123"/>
                  <a:gd name="connsiteY367" fmla="*/ 3417908 h 6849687"/>
                  <a:gd name="connsiteX368" fmla="*/ 5701768 w 9094123"/>
                  <a:gd name="connsiteY368" fmla="*/ 3432197 h 6849687"/>
                  <a:gd name="connsiteX369" fmla="*/ 5451472 w 9094123"/>
                  <a:gd name="connsiteY369" fmla="*/ 3299194 h 6849687"/>
                  <a:gd name="connsiteX370" fmla="*/ 5431727 w 9094123"/>
                  <a:gd name="connsiteY370" fmla="*/ 3259909 h 6849687"/>
                  <a:gd name="connsiteX371" fmla="*/ 5392442 w 9094123"/>
                  <a:gd name="connsiteY371" fmla="*/ 3279654 h 6849687"/>
                  <a:gd name="connsiteX372" fmla="*/ 5393283 w 9094123"/>
                  <a:gd name="connsiteY372" fmla="*/ 3301438 h 6849687"/>
                  <a:gd name="connsiteX373" fmla="*/ 5164765 w 9094123"/>
                  <a:gd name="connsiteY373" fmla="*/ 3444750 h 6849687"/>
                  <a:gd name="connsiteX374" fmla="*/ 5099676 w 9094123"/>
                  <a:gd name="connsiteY374" fmla="*/ 3432447 h 6849687"/>
                  <a:gd name="connsiteX375" fmla="*/ 5082552 w 9094123"/>
                  <a:gd name="connsiteY375" fmla="*/ 3449571 h 6849687"/>
                  <a:gd name="connsiteX376" fmla="*/ 4839738 w 9094123"/>
                  <a:gd name="connsiteY376" fmla="*/ 3320474 h 6849687"/>
                  <a:gd name="connsiteX377" fmla="*/ 4819922 w 9094123"/>
                  <a:gd name="connsiteY377" fmla="*/ 3281885 h 6849687"/>
                  <a:gd name="connsiteX378" fmla="*/ 4814384 w 9094123"/>
                  <a:gd name="connsiteY378" fmla="*/ 3280656 h 6849687"/>
                  <a:gd name="connsiteX379" fmla="*/ 4804076 w 9094123"/>
                  <a:gd name="connsiteY379" fmla="*/ 2987633 h 6849687"/>
                  <a:gd name="connsiteX380" fmla="*/ 4828908 w 9094123"/>
                  <a:gd name="connsiteY380" fmla="*/ 2952063 h 6849687"/>
                  <a:gd name="connsiteX381" fmla="*/ 4826853 w 9094123"/>
                  <a:gd name="connsiteY381" fmla="*/ 2945238 h 6849687"/>
                  <a:gd name="connsiteX382" fmla="*/ 5065761 w 9094123"/>
                  <a:gd name="connsiteY382" fmla="*/ 2795609 h 6849687"/>
                  <a:gd name="connsiteX383" fmla="*/ 5120410 w 9094123"/>
                  <a:gd name="connsiteY383" fmla="*/ 2799441 h 6849687"/>
                  <a:gd name="connsiteX384" fmla="*/ 5124242 w 9094123"/>
                  <a:gd name="connsiteY384" fmla="*/ 2744792 h 6849687"/>
                  <a:gd name="connsiteX385" fmla="*/ 5099843 w 9094123"/>
                  <a:gd name="connsiteY385" fmla="*/ 2731767 h 6849687"/>
                  <a:gd name="connsiteX386" fmla="*/ 5089951 w 9094123"/>
                  <a:gd name="connsiteY386" fmla="*/ 2449134 h 6849687"/>
                  <a:gd name="connsiteX387" fmla="*/ 5100342 w 9094123"/>
                  <a:gd name="connsiteY387" fmla="*/ 2445310 h 6849687"/>
                  <a:gd name="connsiteX388" fmla="*/ 5112644 w 9094123"/>
                  <a:gd name="connsiteY388" fmla="*/ 2406074 h 6849687"/>
                  <a:gd name="connsiteX389" fmla="*/ 5348892 w 9094123"/>
                  <a:gd name="connsiteY389" fmla="*/ 2258357 h 6849687"/>
                  <a:gd name="connsiteX390" fmla="*/ 5405668 w 9094123"/>
                  <a:gd name="connsiteY390" fmla="*/ 2268914 h 6849687"/>
                  <a:gd name="connsiteX391" fmla="*/ 5419966 w 9094123"/>
                  <a:gd name="connsiteY391" fmla="*/ 2254866 h 6849687"/>
                  <a:gd name="connsiteX392" fmla="*/ 5663529 w 9094123"/>
                  <a:gd name="connsiteY392" fmla="*/ 2384295 h 6849687"/>
                  <a:gd name="connsiteX393" fmla="*/ 5665857 w 9094123"/>
                  <a:gd name="connsiteY393" fmla="*/ 2413473 h 6849687"/>
                  <a:gd name="connsiteX394" fmla="*/ 5711780 w 9094123"/>
                  <a:gd name="connsiteY394" fmla="*/ 2423585 h 6849687"/>
                  <a:gd name="connsiteX395" fmla="*/ 5724877 w 9094123"/>
                  <a:gd name="connsiteY395" fmla="*/ 2383547 h 6849687"/>
                  <a:gd name="connsiteX396" fmla="*/ 5965115 w 9094123"/>
                  <a:gd name="connsiteY396" fmla="*/ 2233336 h 6849687"/>
                  <a:gd name="connsiteX397" fmla="*/ 6019523 w 9094123"/>
                  <a:gd name="connsiteY397" fmla="*/ 2239730 h 6849687"/>
                  <a:gd name="connsiteX398" fmla="*/ 6025917 w 9094123"/>
                  <a:gd name="connsiteY398" fmla="*/ 2185321 h 6849687"/>
                  <a:gd name="connsiteX399" fmla="*/ 5997784 w 9094123"/>
                  <a:gd name="connsiteY399" fmla="*/ 2170658 h 6849687"/>
                  <a:gd name="connsiteX400" fmla="*/ 5988557 w 9094123"/>
                  <a:gd name="connsiteY400" fmla="*/ 1907394 h 6849687"/>
                  <a:gd name="connsiteX401" fmla="*/ 6007344 w 9094123"/>
                  <a:gd name="connsiteY401" fmla="*/ 1900744 h 6849687"/>
                  <a:gd name="connsiteX402" fmla="*/ 6025704 w 9094123"/>
                  <a:gd name="connsiteY402" fmla="*/ 1832639 h 6849687"/>
                  <a:gd name="connsiteX403" fmla="*/ 5957600 w 9094123"/>
                  <a:gd name="connsiteY403" fmla="*/ 1814279 h 6849687"/>
                  <a:gd name="connsiteX404" fmla="*/ 5956054 w 9094123"/>
                  <a:gd name="connsiteY404" fmla="*/ 1815206 h 6849687"/>
                  <a:gd name="connsiteX405" fmla="*/ 5940426 w 9094123"/>
                  <a:gd name="connsiteY405" fmla="*/ 1830085 h 6849687"/>
                  <a:gd name="connsiteX406" fmla="*/ 5698692 w 9094123"/>
                  <a:gd name="connsiteY406" fmla="*/ 1701654 h 6849687"/>
                  <a:gd name="connsiteX407" fmla="*/ 5680494 w 9094123"/>
                  <a:gd name="connsiteY407" fmla="*/ 1664882 h 6849687"/>
                  <a:gd name="connsiteX408" fmla="*/ 5643722 w 9094123"/>
                  <a:gd name="connsiteY408" fmla="*/ 1683079 h 6849687"/>
                  <a:gd name="connsiteX409" fmla="*/ 5644410 w 9094123"/>
                  <a:gd name="connsiteY409" fmla="*/ 1703482 h 6849687"/>
                  <a:gd name="connsiteX410" fmla="*/ 5395028 w 9094123"/>
                  <a:gd name="connsiteY410" fmla="*/ 1859346 h 6849687"/>
                  <a:gd name="connsiteX411" fmla="*/ 5351463 w 9094123"/>
                  <a:gd name="connsiteY411" fmla="*/ 1854359 h 6849687"/>
                  <a:gd name="connsiteX412" fmla="*/ 5345900 w 9094123"/>
                  <a:gd name="connsiteY412" fmla="*/ 1860094 h 6849687"/>
                  <a:gd name="connsiteX413" fmla="*/ 5100840 w 9094123"/>
                  <a:gd name="connsiteY413" fmla="*/ 1729751 h 6849687"/>
                  <a:gd name="connsiteX414" fmla="*/ 5075939 w 9094123"/>
                  <a:gd name="connsiteY414" fmla="*/ 1672380 h 6849687"/>
                  <a:gd name="connsiteX415" fmla="*/ 5018568 w 9094123"/>
                  <a:gd name="connsiteY415" fmla="*/ 1697281 h 6849687"/>
                  <a:gd name="connsiteX416" fmla="*/ 5020124 w 9094123"/>
                  <a:gd name="connsiteY416" fmla="*/ 1733242 h 6849687"/>
                  <a:gd name="connsiteX417" fmla="*/ 4789030 w 9094123"/>
                  <a:gd name="connsiteY417" fmla="*/ 1877717 h 6849687"/>
                  <a:gd name="connsiteX418" fmla="*/ 4738316 w 9094123"/>
                  <a:gd name="connsiteY418" fmla="*/ 1873327 h 6849687"/>
                  <a:gd name="connsiteX419" fmla="*/ 4733927 w 9094123"/>
                  <a:gd name="connsiteY419" fmla="*/ 1924041 h 6849687"/>
                  <a:gd name="connsiteX420" fmla="*/ 4758356 w 9094123"/>
                  <a:gd name="connsiteY420" fmla="*/ 1936738 h 6849687"/>
                  <a:gd name="connsiteX421" fmla="*/ 4767916 w 9094123"/>
                  <a:gd name="connsiteY421" fmla="*/ 2208315 h 6849687"/>
                  <a:gd name="connsiteX422" fmla="*/ 4750625 w 9094123"/>
                  <a:gd name="connsiteY422" fmla="*/ 2214134 h 6849687"/>
                  <a:gd name="connsiteX423" fmla="*/ 4734582 w 9094123"/>
                  <a:gd name="connsiteY423" fmla="*/ 2272323 h 6849687"/>
                  <a:gd name="connsiteX424" fmla="*/ 4504402 w 9094123"/>
                  <a:gd name="connsiteY424" fmla="*/ 2416382 h 6849687"/>
                  <a:gd name="connsiteX425" fmla="*/ 4449794 w 9094123"/>
                  <a:gd name="connsiteY425" fmla="*/ 2412016 h 6849687"/>
                  <a:gd name="connsiteX426" fmla="*/ 4445428 w 9094123"/>
                  <a:gd name="connsiteY426" fmla="*/ 2466625 h 6849687"/>
                  <a:gd name="connsiteX427" fmla="*/ 4471152 w 9094123"/>
                  <a:gd name="connsiteY427" fmla="*/ 2480058 h 6849687"/>
                  <a:gd name="connsiteX428" fmla="*/ 4480462 w 9094123"/>
                  <a:gd name="connsiteY428" fmla="*/ 2745234 h 6849687"/>
                  <a:gd name="connsiteX429" fmla="*/ 4438328 w 9094123"/>
                  <a:gd name="connsiteY429" fmla="*/ 2801803 h 6849687"/>
                  <a:gd name="connsiteX430" fmla="*/ 4442389 w 9094123"/>
                  <a:gd name="connsiteY430" fmla="*/ 2815476 h 6849687"/>
                  <a:gd name="connsiteX431" fmla="*/ 4221354 w 9094123"/>
                  <a:gd name="connsiteY431" fmla="*/ 2953634 h 6849687"/>
                  <a:gd name="connsiteX432" fmla="*/ 4160042 w 9094123"/>
                  <a:gd name="connsiteY432" fmla="*/ 2947667 h 6849687"/>
                  <a:gd name="connsiteX433" fmla="*/ 4152774 w 9094123"/>
                  <a:gd name="connsiteY433" fmla="*/ 2955296 h 6849687"/>
                  <a:gd name="connsiteX434" fmla="*/ 3918937 w 9094123"/>
                  <a:gd name="connsiteY434" fmla="*/ 2831104 h 6849687"/>
                  <a:gd name="connsiteX435" fmla="*/ 3896907 w 9094123"/>
                  <a:gd name="connsiteY435" fmla="*/ 2773325 h 6849687"/>
                  <a:gd name="connsiteX436" fmla="*/ 3839128 w 9094123"/>
                  <a:gd name="connsiteY436" fmla="*/ 2795354 h 6849687"/>
                  <a:gd name="connsiteX437" fmla="*/ 3839551 w 9094123"/>
                  <a:gd name="connsiteY437" fmla="*/ 2832018 h 6849687"/>
                  <a:gd name="connsiteX438" fmla="*/ 3607210 w 9094123"/>
                  <a:gd name="connsiteY438" fmla="*/ 2977325 h 6849687"/>
                  <a:gd name="connsiteX439" fmla="*/ 3556585 w 9094123"/>
                  <a:gd name="connsiteY439" fmla="*/ 2967433 h 6849687"/>
                  <a:gd name="connsiteX440" fmla="*/ 3545030 w 9094123"/>
                  <a:gd name="connsiteY440" fmla="*/ 2978073 h 6849687"/>
                  <a:gd name="connsiteX441" fmla="*/ 3300636 w 9094123"/>
                  <a:gd name="connsiteY441" fmla="*/ 2848228 h 6849687"/>
                  <a:gd name="connsiteX442" fmla="*/ 3281013 w 9094123"/>
                  <a:gd name="connsiteY442" fmla="*/ 2805495 h 6849687"/>
                  <a:gd name="connsiteX443" fmla="*/ 3269547 w 9094123"/>
                  <a:gd name="connsiteY443" fmla="*/ 2803423 h 6849687"/>
                  <a:gd name="connsiteX444" fmla="*/ 3260320 w 9094123"/>
                  <a:gd name="connsiteY444" fmla="*/ 2530765 h 6849687"/>
                  <a:gd name="connsiteX445" fmla="*/ 3278275 w 9094123"/>
                  <a:gd name="connsiteY445" fmla="*/ 2524281 h 6849687"/>
                  <a:gd name="connsiteX446" fmla="*/ 3295358 w 9094123"/>
                  <a:gd name="connsiteY446" fmla="*/ 2455826 h 6849687"/>
                  <a:gd name="connsiteX447" fmla="*/ 3226902 w 9094123"/>
                  <a:gd name="connsiteY447" fmla="*/ 2438743 h 6849687"/>
                  <a:gd name="connsiteX448" fmla="*/ 3210693 w 9094123"/>
                  <a:gd name="connsiteY448" fmla="*/ 2454455 h 6849687"/>
                  <a:gd name="connsiteX449" fmla="*/ 2974528 w 9094123"/>
                  <a:gd name="connsiteY449" fmla="*/ 2329015 h 6849687"/>
                  <a:gd name="connsiteX450" fmla="*/ 2956013 w 9094123"/>
                  <a:gd name="connsiteY450" fmla="*/ 2285790 h 6849687"/>
                  <a:gd name="connsiteX451" fmla="*/ 2912788 w 9094123"/>
                  <a:gd name="connsiteY451" fmla="*/ 2304305 h 6849687"/>
                  <a:gd name="connsiteX452" fmla="*/ 2913429 w 9094123"/>
                  <a:gd name="connsiteY452" fmla="*/ 2330512 h 6849687"/>
                  <a:gd name="connsiteX453" fmla="*/ 2680922 w 9094123"/>
                  <a:gd name="connsiteY453" fmla="*/ 2475652 h 6849687"/>
                  <a:gd name="connsiteX454" fmla="*/ 2619656 w 9094123"/>
                  <a:gd name="connsiteY454" fmla="*/ 2468192 h 6849687"/>
                  <a:gd name="connsiteX455" fmla="*/ 2612196 w 9094123"/>
                  <a:gd name="connsiteY455" fmla="*/ 2529458 h 6849687"/>
                  <a:gd name="connsiteX456" fmla="*/ 2640772 w 9094123"/>
                  <a:gd name="connsiteY456" fmla="*/ 2545811 h 6849687"/>
                  <a:gd name="connsiteX457" fmla="*/ 2649999 w 9094123"/>
                  <a:gd name="connsiteY457" fmla="*/ 2808410 h 6849687"/>
                  <a:gd name="connsiteX458" fmla="*/ 2607762 w 9094123"/>
                  <a:gd name="connsiteY458" fmla="*/ 2864902 h 6849687"/>
                  <a:gd name="connsiteX459" fmla="*/ 2664254 w 9094123"/>
                  <a:gd name="connsiteY459" fmla="*/ 2907139 h 6849687"/>
                  <a:gd name="connsiteX460" fmla="*/ 2682834 w 9094123"/>
                  <a:gd name="connsiteY460" fmla="*/ 2900515 h 6849687"/>
                  <a:gd name="connsiteX461" fmla="*/ 2699460 w 9094123"/>
                  <a:gd name="connsiteY461" fmla="*/ 2884305 h 6849687"/>
                  <a:gd name="connsiteX462" fmla="*/ 2931551 w 9094123"/>
                  <a:gd name="connsiteY462" fmla="*/ 3007666 h 6849687"/>
                  <a:gd name="connsiteX463" fmla="*/ 2948216 w 9094123"/>
                  <a:gd name="connsiteY463" fmla="*/ 3059606 h 6849687"/>
                  <a:gd name="connsiteX464" fmla="*/ 2964802 w 9094123"/>
                  <a:gd name="connsiteY464" fmla="*/ 3063860 h 6849687"/>
                  <a:gd name="connsiteX465" fmla="*/ 2974195 w 9094123"/>
                  <a:gd name="connsiteY465" fmla="*/ 3330283 h 6849687"/>
                  <a:gd name="connsiteX466" fmla="*/ 2935548 w 9094123"/>
                  <a:gd name="connsiteY466" fmla="*/ 3378404 h 6849687"/>
                  <a:gd name="connsiteX467" fmla="*/ 2941610 w 9094123"/>
                  <a:gd name="connsiteY467" fmla="*/ 3396286 h 6849687"/>
                  <a:gd name="connsiteX468" fmla="*/ 3001141 w 9094123"/>
                  <a:gd name="connsiteY468" fmla="*/ 3411658 h 6849687"/>
                  <a:gd name="connsiteX469" fmla="*/ 3015427 w 9094123"/>
                  <a:gd name="connsiteY469" fmla="*/ 3398032 h 6849687"/>
                  <a:gd name="connsiteX470" fmla="*/ 3259073 w 9094123"/>
                  <a:gd name="connsiteY470" fmla="*/ 3527461 h 6849687"/>
                  <a:gd name="connsiteX471" fmla="*/ 3277931 w 9094123"/>
                  <a:gd name="connsiteY471" fmla="*/ 3570538 h 6849687"/>
                  <a:gd name="connsiteX472" fmla="*/ 3321008 w 9094123"/>
                  <a:gd name="connsiteY472" fmla="*/ 3551679 h 6849687"/>
                  <a:gd name="connsiteX473" fmla="*/ 3320670 w 9094123"/>
                  <a:gd name="connsiteY473" fmla="*/ 3526630 h 6849687"/>
                  <a:gd name="connsiteX474" fmla="*/ 3561323 w 9094123"/>
                  <a:gd name="connsiteY474" fmla="*/ 3376170 h 6849687"/>
                  <a:gd name="connsiteX475" fmla="*/ 3611200 w 9094123"/>
                  <a:gd name="connsiteY475" fmla="*/ 3385230 h 6849687"/>
                  <a:gd name="connsiteX476" fmla="*/ 3622422 w 9094123"/>
                  <a:gd name="connsiteY476" fmla="*/ 3375006 h 6849687"/>
                  <a:gd name="connsiteX477" fmla="*/ 3864987 w 9094123"/>
                  <a:gd name="connsiteY477" fmla="*/ 3503853 h 6849687"/>
                  <a:gd name="connsiteX478" fmla="*/ 3868063 w 9094123"/>
                  <a:gd name="connsiteY478" fmla="*/ 3537104 h 6849687"/>
                  <a:gd name="connsiteX479" fmla="*/ 3920861 w 9094123"/>
                  <a:gd name="connsiteY479" fmla="*/ 3551269 h 6849687"/>
                  <a:gd name="connsiteX480" fmla="*/ 3936726 w 9094123"/>
                  <a:gd name="connsiteY480" fmla="*/ 3501775 h 6849687"/>
                  <a:gd name="connsiteX481" fmla="*/ 4175800 w 9094123"/>
                  <a:gd name="connsiteY481" fmla="*/ 3352146 h 6849687"/>
                  <a:gd name="connsiteX482" fmla="*/ 4222672 w 9094123"/>
                  <a:gd name="connsiteY482" fmla="*/ 3355933 h 6849687"/>
                  <a:gd name="connsiteX483" fmla="*/ 4227339 w 9094123"/>
                  <a:gd name="connsiteY483" fmla="*/ 3351065 h 6849687"/>
                  <a:gd name="connsiteX484" fmla="*/ 4473146 w 9094123"/>
                  <a:gd name="connsiteY484" fmla="*/ 3481741 h 6849687"/>
                  <a:gd name="connsiteX485" fmla="*/ 4496569 w 9094123"/>
                  <a:gd name="connsiteY485" fmla="*/ 3538716 h 6849687"/>
                  <a:gd name="connsiteX486" fmla="*/ 4509722 w 9094123"/>
                  <a:gd name="connsiteY486" fmla="*/ 3541925 h 6849687"/>
                  <a:gd name="connsiteX487" fmla="*/ 4519199 w 9094123"/>
                  <a:gd name="connsiteY487" fmla="*/ 3809263 h 6849687"/>
                  <a:gd name="connsiteX488" fmla="*/ 4487990 w 9094123"/>
                  <a:gd name="connsiteY488" fmla="*/ 3853569 h 6849687"/>
                  <a:gd name="connsiteX489" fmla="*/ 4492017 w 9094123"/>
                  <a:gd name="connsiteY489" fmla="*/ 3865207 h 6849687"/>
                  <a:gd name="connsiteX490" fmla="*/ 4250947 w 9094123"/>
                  <a:gd name="connsiteY490" fmla="*/ 4016166 h 6849687"/>
                  <a:gd name="connsiteX491" fmla="*/ 4207073 w 9094123"/>
                  <a:gd name="connsiteY491" fmla="*/ 4011863 h 6849687"/>
                  <a:gd name="connsiteX492" fmla="*/ 4201736 w 9094123"/>
                  <a:gd name="connsiteY492" fmla="*/ 4017496 h 6849687"/>
                  <a:gd name="connsiteX493" fmla="*/ 3951190 w 9094123"/>
                  <a:gd name="connsiteY493" fmla="*/ 3884493 h 6849687"/>
                  <a:gd name="connsiteX494" fmla="*/ 3929369 w 9094123"/>
                  <a:gd name="connsiteY494" fmla="*/ 3834372 h 6849687"/>
                  <a:gd name="connsiteX495" fmla="*/ 3879248 w 9094123"/>
                  <a:gd name="connsiteY495" fmla="*/ 3856193 h 6849687"/>
                  <a:gd name="connsiteX496" fmla="*/ 3880615 w 9094123"/>
                  <a:gd name="connsiteY496" fmla="*/ 3887568 h 6849687"/>
                  <a:gd name="connsiteX497" fmla="*/ 3641624 w 9094123"/>
                  <a:gd name="connsiteY497" fmla="*/ 4037198 h 6849687"/>
                  <a:gd name="connsiteX498" fmla="*/ 3597768 w 9094123"/>
                  <a:gd name="connsiteY498" fmla="*/ 4034070 h 6849687"/>
                  <a:gd name="connsiteX499" fmla="*/ 3594641 w 9094123"/>
                  <a:gd name="connsiteY499" fmla="*/ 4077926 h 6849687"/>
                  <a:gd name="connsiteX500" fmla="*/ 3613610 w 9094123"/>
                  <a:gd name="connsiteY500" fmla="*/ 4088321 h 6849687"/>
                  <a:gd name="connsiteX501" fmla="*/ 3623918 w 9094123"/>
                  <a:gd name="connsiteY501" fmla="*/ 4381012 h 6849687"/>
                  <a:gd name="connsiteX502" fmla="*/ 3615605 w 9094123"/>
                  <a:gd name="connsiteY502" fmla="*/ 4384337 h 6849687"/>
                  <a:gd name="connsiteX503" fmla="*/ 3602471 w 9094123"/>
                  <a:gd name="connsiteY503" fmla="*/ 4421994 h 6849687"/>
                  <a:gd name="connsiteX504" fmla="*/ 3364644 w 9094123"/>
                  <a:gd name="connsiteY504" fmla="*/ 4570625 h 6849687"/>
                  <a:gd name="connsiteX505" fmla="*/ 3302783 w 9094123"/>
                  <a:gd name="connsiteY505" fmla="*/ 4567240 h 6849687"/>
                  <a:gd name="connsiteX506" fmla="*/ 3299397 w 9094123"/>
                  <a:gd name="connsiteY506" fmla="*/ 4629101 h 6849687"/>
                  <a:gd name="connsiteX507" fmla="*/ 3326821 w 9094123"/>
                  <a:gd name="connsiteY507" fmla="*/ 4643362 h 6849687"/>
                  <a:gd name="connsiteX508" fmla="*/ 3335965 w 9094123"/>
                  <a:gd name="connsiteY508" fmla="*/ 4904382 h 6849687"/>
                  <a:gd name="connsiteX509" fmla="*/ 3319755 w 9094123"/>
                  <a:gd name="connsiteY509" fmla="*/ 4910201 h 6849687"/>
                  <a:gd name="connsiteX510" fmla="*/ 3304044 w 9094123"/>
                  <a:gd name="connsiteY510" fmla="*/ 4968889 h 6849687"/>
                  <a:gd name="connsiteX511" fmla="*/ 3068711 w 9094123"/>
                  <a:gd name="connsiteY511" fmla="*/ 5116023 h 6849687"/>
                  <a:gd name="connsiteX512" fmla="*/ 3027148 w 9094123"/>
                  <a:gd name="connsiteY512" fmla="*/ 5110204 h 6849687"/>
                  <a:gd name="connsiteX513" fmla="*/ 3018419 w 9094123"/>
                  <a:gd name="connsiteY513" fmla="*/ 5118018 h 6849687"/>
                  <a:gd name="connsiteX514" fmla="*/ 2780758 w 9094123"/>
                  <a:gd name="connsiteY514" fmla="*/ 4991748 h 6849687"/>
                  <a:gd name="connsiteX515" fmla="*/ 2753121 w 9094123"/>
                  <a:gd name="connsiteY515" fmla="*/ 4926852 h 6849687"/>
                  <a:gd name="connsiteX516" fmla="*/ 2688225 w 9094123"/>
                  <a:gd name="connsiteY516" fmla="*/ 4954489 h 6849687"/>
                  <a:gd name="connsiteX517" fmla="*/ 2688819 w 9094123"/>
                  <a:gd name="connsiteY517" fmla="*/ 4993162 h 6849687"/>
                  <a:gd name="connsiteX518" fmla="*/ 2469280 w 9094123"/>
                  <a:gd name="connsiteY518" fmla="*/ 5130487 h 6849687"/>
                  <a:gd name="connsiteX519" fmla="*/ 2407601 w 9094123"/>
                  <a:gd name="connsiteY519" fmla="*/ 5126084 h 6849687"/>
                  <a:gd name="connsiteX520" fmla="*/ 2398789 w 9094123"/>
                  <a:gd name="connsiteY520" fmla="*/ 5181694 h 6849687"/>
                  <a:gd name="connsiteX521" fmla="*/ 2430793 w 9094123"/>
                  <a:gd name="connsiteY521" fmla="*/ 5202393 h 6849687"/>
                  <a:gd name="connsiteX522" fmla="*/ 2440518 w 9094123"/>
                  <a:gd name="connsiteY522" fmla="*/ 5479456 h 6849687"/>
                  <a:gd name="connsiteX523" fmla="*/ 2429213 w 9094123"/>
                  <a:gd name="connsiteY523" fmla="*/ 5483446 h 6849687"/>
                  <a:gd name="connsiteX524" fmla="*/ 2417076 w 9094123"/>
                  <a:gd name="connsiteY524" fmla="*/ 5523264 h 6849687"/>
                  <a:gd name="connsiteX525" fmla="*/ 2178834 w 9094123"/>
                  <a:gd name="connsiteY525" fmla="*/ 5671979 h 6849687"/>
                  <a:gd name="connsiteX526" fmla="*/ 2122058 w 9094123"/>
                  <a:gd name="connsiteY526" fmla="*/ 5661421 h 6849687"/>
                  <a:gd name="connsiteX527" fmla="*/ 2108009 w 9094123"/>
                  <a:gd name="connsiteY527" fmla="*/ 5675220 h 6849687"/>
                  <a:gd name="connsiteX528" fmla="*/ 1874339 w 9094123"/>
                  <a:gd name="connsiteY528" fmla="*/ 5552192 h 6849687"/>
                  <a:gd name="connsiteX529" fmla="*/ 1852321 w 9094123"/>
                  <a:gd name="connsiteY529" fmla="*/ 5494408 h 6849687"/>
                  <a:gd name="connsiteX530" fmla="*/ 1794537 w 9094123"/>
                  <a:gd name="connsiteY530" fmla="*/ 5516425 h 6849687"/>
                  <a:gd name="connsiteX531" fmla="*/ 1795201 w 9094123"/>
                  <a:gd name="connsiteY531" fmla="*/ 5553605 h 6849687"/>
                  <a:gd name="connsiteX532" fmla="*/ 1559286 w 9094123"/>
                  <a:gd name="connsiteY532" fmla="*/ 5702320 h 6849687"/>
                  <a:gd name="connsiteX533" fmla="*/ 1515759 w 9094123"/>
                  <a:gd name="connsiteY533" fmla="*/ 5698094 h 6849687"/>
                  <a:gd name="connsiteX534" fmla="*/ 1509410 w 9094123"/>
                  <a:gd name="connsiteY534" fmla="*/ 5705230 h 6849687"/>
                  <a:gd name="connsiteX535" fmla="*/ 1269338 w 9094123"/>
                  <a:gd name="connsiteY535" fmla="*/ 5578544 h 6849687"/>
                  <a:gd name="connsiteX536" fmla="*/ 1243408 w 9094123"/>
                  <a:gd name="connsiteY536" fmla="*/ 5512947 h 6849687"/>
                  <a:gd name="connsiteX537" fmla="*/ 1225780 w 9094123"/>
                  <a:gd name="connsiteY537" fmla="*/ 5508883 h 6849687"/>
                  <a:gd name="connsiteX538" fmla="*/ 1215389 w 9094123"/>
                  <a:gd name="connsiteY538" fmla="*/ 5236973 h 6849687"/>
                  <a:gd name="connsiteX539" fmla="*/ 1224865 w 9094123"/>
                  <a:gd name="connsiteY539" fmla="*/ 5233316 h 6849687"/>
                  <a:gd name="connsiteX540" fmla="*/ 1235630 w 9094123"/>
                  <a:gd name="connsiteY540" fmla="*/ 5190298 h 6849687"/>
                  <a:gd name="connsiteX541" fmla="*/ 1192612 w 9094123"/>
                  <a:gd name="connsiteY541" fmla="*/ 5179533 h 6849687"/>
                  <a:gd name="connsiteX542" fmla="*/ 1183468 w 9094123"/>
                  <a:gd name="connsiteY542" fmla="*/ 5187845 h 6849687"/>
                  <a:gd name="connsiteX543" fmla="*/ 928849 w 9094123"/>
                  <a:gd name="connsiteY543" fmla="*/ 5054177 h 6849687"/>
                  <a:gd name="connsiteX544" fmla="*/ 910559 w 9094123"/>
                  <a:gd name="connsiteY544" fmla="*/ 5010855 h 6849687"/>
                  <a:gd name="connsiteX545" fmla="*/ 867238 w 9094123"/>
                  <a:gd name="connsiteY545" fmla="*/ 5029146 h 6849687"/>
                  <a:gd name="connsiteX546" fmla="*/ 868166 w 9094123"/>
                  <a:gd name="connsiteY546" fmla="*/ 5056254 h 6849687"/>
                  <a:gd name="connsiteX547" fmla="*/ 634080 w 9094123"/>
                  <a:gd name="connsiteY547" fmla="*/ 5203806 h 6849687"/>
                  <a:gd name="connsiteX548" fmla="*/ 578551 w 9094123"/>
                  <a:gd name="connsiteY548" fmla="*/ 5194911 h 6849687"/>
                  <a:gd name="connsiteX549" fmla="*/ 563418 w 9094123"/>
                  <a:gd name="connsiteY549" fmla="*/ 5254867 h 6849687"/>
                  <a:gd name="connsiteX550" fmla="*/ 563505 w 9094123"/>
                  <a:gd name="connsiteY550" fmla="*/ 5255012 h 6849687"/>
                  <a:gd name="connsiteX551" fmla="*/ 596755 w 9094123"/>
                  <a:gd name="connsiteY551" fmla="*/ 5275961 h 6849687"/>
                  <a:gd name="connsiteX552" fmla="*/ 607562 w 9094123"/>
                  <a:gd name="connsiteY552" fmla="*/ 5552691 h 6849687"/>
                  <a:gd name="connsiteX553" fmla="*/ 597337 w 9094123"/>
                  <a:gd name="connsiteY553" fmla="*/ 5556432 h 6849687"/>
                  <a:gd name="connsiteX554" fmla="*/ 586614 w 9094123"/>
                  <a:gd name="connsiteY554" fmla="*/ 5599243 h 6849687"/>
                  <a:gd name="connsiteX555" fmla="*/ 629424 w 9094123"/>
                  <a:gd name="connsiteY555" fmla="*/ 5609966 h 6849687"/>
                  <a:gd name="connsiteX556" fmla="*/ 638652 w 9094123"/>
                  <a:gd name="connsiteY556" fmla="*/ 5601653 h 6849687"/>
                  <a:gd name="connsiteX557" fmla="*/ 882879 w 9094123"/>
                  <a:gd name="connsiteY557" fmla="*/ 5730001 h 6849687"/>
                  <a:gd name="connsiteX558" fmla="*/ 907189 w 9094123"/>
                  <a:gd name="connsiteY558" fmla="*/ 5786603 h 6849687"/>
                  <a:gd name="connsiteX559" fmla="*/ 922032 w 9094123"/>
                  <a:gd name="connsiteY559" fmla="*/ 5789687 h 6849687"/>
                  <a:gd name="connsiteX560" fmla="*/ 932340 w 9094123"/>
                  <a:gd name="connsiteY560" fmla="*/ 6055694 h 6849687"/>
                  <a:gd name="connsiteX561" fmla="*/ 917294 w 9094123"/>
                  <a:gd name="connsiteY561" fmla="*/ 6061181 h 6849687"/>
                  <a:gd name="connsiteX562" fmla="*/ 900669 w 9094123"/>
                  <a:gd name="connsiteY562" fmla="*/ 6117957 h 6849687"/>
                  <a:gd name="connsiteX563" fmla="*/ 673482 w 9094123"/>
                  <a:gd name="connsiteY563" fmla="*/ 6261351 h 6849687"/>
                  <a:gd name="connsiteX564" fmla="*/ 616540 w 9094123"/>
                  <a:gd name="connsiteY564" fmla="*/ 6250545 h 6849687"/>
                  <a:gd name="connsiteX565" fmla="*/ 602824 w 9094123"/>
                  <a:gd name="connsiteY565" fmla="*/ 6263679 h 6849687"/>
                  <a:gd name="connsiteX566" fmla="*/ 361755 w 9094123"/>
                  <a:gd name="connsiteY566" fmla="*/ 6136826 h 6849687"/>
                  <a:gd name="connsiteX567" fmla="*/ 358596 w 9094123"/>
                  <a:gd name="connsiteY567" fmla="*/ 6106152 h 6849687"/>
                  <a:gd name="connsiteX568" fmla="*/ 308304 w 9094123"/>
                  <a:gd name="connsiteY568" fmla="*/ 6093933 h 6849687"/>
                  <a:gd name="connsiteX569" fmla="*/ 294006 w 9094123"/>
                  <a:gd name="connsiteY569" fmla="*/ 6140900 h 6849687"/>
                  <a:gd name="connsiteX570" fmla="*/ 54017 w 9094123"/>
                  <a:gd name="connsiteY570" fmla="*/ 6292108 h 6849687"/>
                  <a:gd name="connsiteX571" fmla="*/ 15114 w 9094123"/>
                  <a:gd name="connsiteY571" fmla="*/ 6286622 h 6849687"/>
                  <a:gd name="connsiteX572" fmla="*/ 4426 w 9094123"/>
                  <a:gd name="connsiteY572" fmla="*/ 6329271 h 6849687"/>
                  <a:gd name="connsiteX573" fmla="*/ 4474 w 9094123"/>
                  <a:gd name="connsiteY573" fmla="*/ 6329349 h 6849687"/>
                  <a:gd name="connsiteX574" fmla="*/ 26669 w 9094123"/>
                  <a:gd name="connsiteY574" fmla="*/ 6343315 h 6849687"/>
                  <a:gd name="connsiteX575" fmla="*/ 37475 w 9094123"/>
                  <a:gd name="connsiteY575" fmla="*/ 6621126 h 6849687"/>
                  <a:gd name="connsiteX576" fmla="*/ 23094 w 9094123"/>
                  <a:gd name="connsiteY576" fmla="*/ 6626529 h 6849687"/>
                  <a:gd name="connsiteX577" fmla="*/ 8048 w 9094123"/>
                  <a:gd name="connsiteY577" fmla="*/ 6686630 h 6849687"/>
                  <a:gd name="connsiteX578" fmla="*/ 68058 w 9094123"/>
                  <a:gd name="connsiteY578" fmla="*/ 6702029 h 6849687"/>
                  <a:gd name="connsiteX579" fmla="*/ 68232 w 9094123"/>
                  <a:gd name="connsiteY579" fmla="*/ 6701925 h 6849687"/>
                  <a:gd name="connsiteX580" fmla="*/ 1257700 w 9094123"/>
                  <a:gd name="connsiteY580" fmla="*/ 6573078 h 6849687"/>
                  <a:gd name="connsiteX581" fmla="*/ 1239662 w 9094123"/>
                  <a:gd name="connsiteY581" fmla="*/ 6578981 h 6849687"/>
                  <a:gd name="connsiteX582" fmla="*/ 1223036 w 9094123"/>
                  <a:gd name="connsiteY582" fmla="*/ 6636172 h 6849687"/>
                  <a:gd name="connsiteX583" fmla="*/ 993522 w 9094123"/>
                  <a:gd name="connsiteY583" fmla="*/ 6781146 h 6849687"/>
                  <a:gd name="connsiteX584" fmla="*/ 948384 w 9094123"/>
                  <a:gd name="connsiteY584" fmla="*/ 6773747 h 6849687"/>
                  <a:gd name="connsiteX585" fmla="*/ 936912 w 9094123"/>
                  <a:gd name="connsiteY585" fmla="*/ 6784969 h 6849687"/>
                  <a:gd name="connsiteX586" fmla="*/ 693516 w 9094123"/>
                  <a:gd name="connsiteY586" fmla="*/ 6656788 h 6849687"/>
                  <a:gd name="connsiteX587" fmla="*/ 690772 w 9094123"/>
                  <a:gd name="connsiteY587" fmla="*/ 6617635 h 6849687"/>
                  <a:gd name="connsiteX588" fmla="*/ 656524 w 9094123"/>
                  <a:gd name="connsiteY588" fmla="*/ 6596603 h 6849687"/>
                  <a:gd name="connsiteX589" fmla="*/ 646299 w 9094123"/>
                  <a:gd name="connsiteY589" fmla="*/ 6331427 h 6849687"/>
                  <a:gd name="connsiteX590" fmla="*/ 661595 w 9094123"/>
                  <a:gd name="connsiteY590" fmla="*/ 6325941 h 6849687"/>
                  <a:gd name="connsiteX591" fmla="*/ 678220 w 9094123"/>
                  <a:gd name="connsiteY591" fmla="*/ 6268583 h 6849687"/>
                  <a:gd name="connsiteX592" fmla="*/ 905407 w 9094123"/>
                  <a:gd name="connsiteY592" fmla="*/ 6125355 h 6849687"/>
                  <a:gd name="connsiteX593" fmla="*/ 966237 w 9094123"/>
                  <a:gd name="connsiteY593" fmla="*/ 6134297 h 6849687"/>
                  <a:gd name="connsiteX594" fmla="*/ 975899 w 9094123"/>
                  <a:gd name="connsiteY594" fmla="*/ 6124358 h 6849687"/>
                  <a:gd name="connsiteX595" fmla="*/ 1206328 w 9094123"/>
                  <a:gd name="connsiteY595" fmla="*/ 6245723 h 6849687"/>
                  <a:gd name="connsiteX596" fmla="*/ 1216636 w 9094123"/>
                  <a:gd name="connsiteY596" fmla="*/ 6251126 h 6849687"/>
                  <a:gd name="connsiteX597" fmla="*/ 1237224 w 9094123"/>
                  <a:gd name="connsiteY597" fmla="*/ 6298578 h 6849687"/>
                  <a:gd name="connsiteX598" fmla="*/ 1247559 w 9094123"/>
                  <a:gd name="connsiteY598" fmla="*/ 6301003 h 6849687"/>
                  <a:gd name="connsiteX599" fmla="*/ 2193797 w 9094123"/>
                  <a:gd name="connsiteY599" fmla="*/ 6064506 h 6849687"/>
                  <a:gd name="connsiteX600" fmla="*/ 2173081 w 9094123"/>
                  <a:gd name="connsiteY600" fmla="*/ 6017109 h 6849687"/>
                  <a:gd name="connsiteX601" fmla="*/ 2161460 w 9094123"/>
                  <a:gd name="connsiteY601" fmla="*/ 6014629 h 6849687"/>
                  <a:gd name="connsiteX602" fmla="*/ 2151402 w 9094123"/>
                  <a:gd name="connsiteY602" fmla="*/ 5741806 h 6849687"/>
                  <a:gd name="connsiteX603" fmla="*/ 2187911 w 9094123"/>
                  <a:gd name="connsiteY603" fmla="*/ 5692481 h 6849687"/>
                  <a:gd name="connsiteX604" fmla="*/ 2183323 w 9094123"/>
                  <a:gd name="connsiteY604" fmla="*/ 5678546 h 6849687"/>
                  <a:gd name="connsiteX605" fmla="*/ 2421233 w 9094123"/>
                  <a:gd name="connsiteY605" fmla="*/ 5529748 h 6849687"/>
                  <a:gd name="connsiteX606" fmla="*/ 2460968 w 9094123"/>
                  <a:gd name="connsiteY606" fmla="*/ 5536398 h 6849687"/>
                  <a:gd name="connsiteX607" fmla="*/ 2469862 w 9094123"/>
                  <a:gd name="connsiteY607" fmla="*/ 5528085 h 6849687"/>
                  <a:gd name="connsiteX608" fmla="*/ 2714838 w 9094123"/>
                  <a:gd name="connsiteY608" fmla="*/ 5658180 h 6849687"/>
                  <a:gd name="connsiteX609" fmla="*/ 2740870 w 9094123"/>
                  <a:gd name="connsiteY609" fmla="*/ 5714270 h 6849687"/>
                  <a:gd name="connsiteX610" fmla="*/ 2753493 w 9094123"/>
                  <a:gd name="connsiteY610" fmla="*/ 5716868 h 6849687"/>
                  <a:gd name="connsiteX611" fmla="*/ 2763135 w 9094123"/>
                  <a:gd name="connsiteY611" fmla="*/ 5990606 h 6849687"/>
                  <a:gd name="connsiteX612" fmla="*/ 2732735 w 9094123"/>
                  <a:gd name="connsiteY612" fmla="*/ 6032601 h 6849687"/>
                  <a:gd name="connsiteX613" fmla="*/ 2735953 w 9094123"/>
                  <a:gd name="connsiteY613" fmla="*/ 6042810 h 6849687"/>
                  <a:gd name="connsiteX614" fmla="*/ 2493055 w 9094123"/>
                  <a:gd name="connsiteY614" fmla="*/ 6195348 h 6849687"/>
                  <a:gd name="connsiteX615" fmla="*/ 2449323 w 9094123"/>
                  <a:gd name="connsiteY615" fmla="*/ 6195230 h 6849687"/>
                  <a:gd name="connsiteX616" fmla="*/ 2446337 w 9094123"/>
                  <a:gd name="connsiteY616" fmla="*/ 6198673 h 6849687"/>
                  <a:gd name="connsiteX617" fmla="*/ 3023157 w 9094123"/>
                  <a:gd name="connsiteY617" fmla="*/ 5514286 h 6849687"/>
                  <a:gd name="connsiteX618" fmla="*/ 3080266 w 9094123"/>
                  <a:gd name="connsiteY618" fmla="*/ 5525259 h 6849687"/>
                  <a:gd name="connsiteX619" fmla="*/ 3093068 w 9094123"/>
                  <a:gd name="connsiteY619" fmla="*/ 5513621 h 6849687"/>
                  <a:gd name="connsiteX620" fmla="*/ 3332225 w 9094123"/>
                  <a:gd name="connsiteY620" fmla="*/ 5640723 h 6849687"/>
                  <a:gd name="connsiteX621" fmla="*/ 3352889 w 9094123"/>
                  <a:gd name="connsiteY621" fmla="*/ 5688142 h 6849687"/>
                  <a:gd name="connsiteX622" fmla="*/ 3363896 w 9094123"/>
                  <a:gd name="connsiteY622" fmla="*/ 5690599 h 6849687"/>
                  <a:gd name="connsiteX623" fmla="*/ 3373539 w 9094123"/>
                  <a:gd name="connsiteY623" fmla="*/ 5964420 h 6849687"/>
                  <a:gd name="connsiteX624" fmla="*/ 3359574 w 9094123"/>
                  <a:gd name="connsiteY624" fmla="*/ 5969657 h 6849687"/>
                  <a:gd name="connsiteX625" fmla="*/ 3342449 w 9094123"/>
                  <a:gd name="connsiteY625" fmla="*/ 6025353 h 6849687"/>
                  <a:gd name="connsiteX626" fmla="*/ 3106368 w 9094123"/>
                  <a:gd name="connsiteY626" fmla="*/ 6172987 h 6849687"/>
                  <a:gd name="connsiteX627" fmla="*/ 3066633 w 9094123"/>
                  <a:gd name="connsiteY627" fmla="*/ 6166337 h 6849687"/>
                  <a:gd name="connsiteX628" fmla="*/ 3057156 w 9094123"/>
                  <a:gd name="connsiteY628" fmla="*/ 6175231 h 6849687"/>
                  <a:gd name="connsiteX629" fmla="*/ 2803120 w 9094123"/>
                  <a:gd name="connsiteY629" fmla="*/ 6040565 h 6849687"/>
                  <a:gd name="connsiteX630" fmla="*/ 2800376 w 9094123"/>
                  <a:gd name="connsiteY630" fmla="*/ 6008644 h 6849687"/>
                  <a:gd name="connsiteX631" fmla="*/ 2771115 w 9094123"/>
                  <a:gd name="connsiteY631" fmla="*/ 5990855 h 6849687"/>
                  <a:gd name="connsiteX632" fmla="*/ 2761556 w 9094123"/>
                  <a:gd name="connsiteY632" fmla="*/ 5717117 h 6849687"/>
                  <a:gd name="connsiteX633" fmla="*/ 2798925 w 9094123"/>
                  <a:gd name="connsiteY633" fmla="*/ 5668145 h 6849687"/>
                  <a:gd name="connsiteX634" fmla="*/ 2795638 w 9094123"/>
                  <a:gd name="connsiteY634" fmla="*/ 5656434 h 6849687"/>
                  <a:gd name="connsiteX635" fmla="*/ 2516995 w 9094123"/>
                  <a:gd name="connsiteY635" fmla="*/ 6580310 h 6849687"/>
                  <a:gd name="connsiteX636" fmla="*/ 2498010 w 9094123"/>
                  <a:gd name="connsiteY636" fmla="*/ 6532068 h 6849687"/>
                  <a:gd name="connsiteX637" fmla="*/ 2485823 w 9094123"/>
                  <a:gd name="connsiteY637" fmla="*/ 6529104 h 6849687"/>
                  <a:gd name="connsiteX638" fmla="*/ 2475848 w 9094123"/>
                  <a:gd name="connsiteY638" fmla="*/ 6248217 h 6849687"/>
                  <a:gd name="connsiteX639" fmla="*/ 2501974 w 9094123"/>
                  <a:gd name="connsiteY639" fmla="*/ 6213000 h 6849687"/>
                  <a:gd name="connsiteX640" fmla="*/ 2498458 w 9094123"/>
                  <a:gd name="connsiteY640" fmla="*/ 6202580 h 6849687"/>
                  <a:gd name="connsiteX641" fmla="*/ 2740774 w 9094123"/>
                  <a:gd name="connsiteY641" fmla="*/ 6051039 h 6849687"/>
                  <a:gd name="connsiteX642" fmla="*/ 2788074 w 9094123"/>
                  <a:gd name="connsiteY642" fmla="*/ 6059352 h 6849687"/>
                  <a:gd name="connsiteX643" fmla="*/ 2799711 w 9094123"/>
                  <a:gd name="connsiteY643" fmla="*/ 6048047 h 6849687"/>
                  <a:gd name="connsiteX644" fmla="*/ 3053416 w 9094123"/>
                  <a:gd name="connsiteY644" fmla="*/ 6182879 h 6849687"/>
                  <a:gd name="connsiteX645" fmla="*/ 3071651 w 9094123"/>
                  <a:gd name="connsiteY645" fmla="*/ 6222369 h 6849687"/>
                  <a:gd name="connsiteX646" fmla="*/ 3077855 w 9094123"/>
                  <a:gd name="connsiteY646" fmla="*/ 6223944 h 6849687"/>
                  <a:gd name="connsiteX647" fmla="*/ 3087997 w 9094123"/>
                  <a:gd name="connsiteY647" fmla="*/ 6511315 h 6849687"/>
                  <a:gd name="connsiteX648" fmla="*/ 3075278 w 9094123"/>
                  <a:gd name="connsiteY648" fmla="*/ 6515970 h 6849687"/>
                  <a:gd name="connsiteX649" fmla="*/ 3060232 w 9094123"/>
                  <a:gd name="connsiteY649" fmla="*/ 6561440 h 6849687"/>
                  <a:gd name="connsiteX650" fmla="*/ 2830219 w 9094123"/>
                  <a:gd name="connsiteY650" fmla="*/ 6705251 h 6849687"/>
                  <a:gd name="connsiteX651" fmla="*/ 2772861 w 9094123"/>
                  <a:gd name="connsiteY651" fmla="*/ 6693945 h 6849687"/>
                  <a:gd name="connsiteX652" fmla="*/ 2758314 w 9094123"/>
                  <a:gd name="connsiteY652" fmla="*/ 6708576 h 6849687"/>
                  <a:gd name="connsiteX653" fmla="*/ 3698816 w 9094123"/>
                  <a:gd name="connsiteY653" fmla="*/ 6494108 h 6849687"/>
                  <a:gd name="connsiteX654" fmla="*/ 3674710 w 9094123"/>
                  <a:gd name="connsiteY654" fmla="*/ 6530314 h 6849687"/>
                  <a:gd name="connsiteX655" fmla="*/ 3676870 w 9094123"/>
                  <a:gd name="connsiteY655" fmla="*/ 6537001 h 6849687"/>
                  <a:gd name="connsiteX656" fmla="*/ 3440789 w 9094123"/>
                  <a:gd name="connsiteY656" fmla="*/ 6684552 h 6849687"/>
                  <a:gd name="connsiteX657" fmla="*/ 3382600 w 9094123"/>
                  <a:gd name="connsiteY657" fmla="*/ 6672332 h 6849687"/>
                  <a:gd name="connsiteX658" fmla="*/ 3367720 w 9094123"/>
                  <a:gd name="connsiteY658" fmla="*/ 6687545 h 6849687"/>
                  <a:gd name="connsiteX659" fmla="*/ 3128480 w 9094123"/>
                  <a:gd name="connsiteY659" fmla="*/ 6560443 h 6849687"/>
                  <a:gd name="connsiteX660" fmla="*/ 3107391 w 9094123"/>
                  <a:gd name="connsiteY660" fmla="*/ 6512954 h 6849687"/>
                  <a:gd name="connsiteX661" fmla="*/ 3096393 w 9094123"/>
                  <a:gd name="connsiteY661" fmla="*/ 6510567 h 6849687"/>
                  <a:gd name="connsiteX662" fmla="*/ 3086251 w 9094123"/>
                  <a:gd name="connsiteY662" fmla="*/ 6223944 h 6849687"/>
                  <a:gd name="connsiteX663" fmla="*/ 3098554 w 9094123"/>
                  <a:gd name="connsiteY663" fmla="*/ 6219704 h 6849687"/>
                  <a:gd name="connsiteX664" fmla="*/ 3110607 w 9094123"/>
                  <a:gd name="connsiteY664" fmla="*/ 6179969 h 6849687"/>
                  <a:gd name="connsiteX665" fmla="*/ 3346439 w 9094123"/>
                  <a:gd name="connsiteY665" fmla="*/ 6032502 h 6849687"/>
                  <a:gd name="connsiteX666" fmla="*/ 3407131 w 9094123"/>
                  <a:gd name="connsiteY666" fmla="*/ 6043050 h 6849687"/>
                  <a:gd name="connsiteX667" fmla="*/ 3417679 w 9094123"/>
                  <a:gd name="connsiteY667" fmla="*/ 6032502 h 6849687"/>
                  <a:gd name="connsiteX668" fmla="*/ 3653096 w 9094123"/>
                  <a:gd name="connsiteY668" fmla="*/ 6157192 h 6849687"/>
                  <a:gd name="connsiteX669" fmla="*/ 3677492 w 9094123"/>
                  <a:gd name="connsiteY669" fmla="*/ 6213501 h 6849687"/>
                  <a:gd name="connsiteX670" fmla="*/ 3688841 w 9094123"/>
                  <a:gd name="connsiteY670" fmla="*/ 6216296 h 6849687"/>
                  <a:gd name="connsiteX671" fmla="*/ 5161856 w 9094123"/>
                  <a:gd name="connsiteY671" fmla="*/ 5576549 h 6849687"/>
                  <a:gd name="connsiteX672" fmla="*/ 5178981 w 9094123"/>
                  <a:gd name="connsiteY672" fmla="*/ 5628462 h 6849687"/>
                  <a:gd name="connsiteX673" fmla="*/ 5195107 w 9094123"/>
                  <a:gd name="connsiteY673" fmla="*/ 5632576 h 6849687"/>
                  <a:gd name="connsiteX674" fmla="*/ 5204999 w 9094123"/>
                  <a:gd name="connsiteY674" fmla="*/ 5912050 h 6849687"/>
                  <a:gd name="connsiteX675" fmla="*/ 5193860 w 9094123"/>
                  <a:gd name="connsiteY675" fmla="*/ 5916123 h 6849687"/>
                  <a:gd name="connsiteX676" fmla="*/ 5180726 w 9094123"/>
                  <a:gd name="connsiteY676" fmla="*/ 5957022 h 6849687"/>
                  <a:gd name="connsiteX677" fmla="*/ 4940405 w 9094123"/>
                  <a:gd name="connsiteY677" fmla="*/ 6107233 h 6849687"/>
                  <a:gd name="connsiteX678" fmla="*/ 4889654 w 9094123"/>
                  <a:gd name="connsiteY678" fmla="*/ 6098533 h 6849687"/>
                  <a:gd name="connsiteX679" fmla="*/ 4879639 w 9094123"/>
                  <a:gd name="connsiteY679" fmla="*/ 6109228 h 6849687"/>
                  <a:gd name="connsiteX680" fmla="*/ 4627181 w 9094123"/>
                  <a:gd name="connsiteY680" fmla="*/ 5975061 h 6849687"/>
                  <a:gd name="connsiteX681" fmla="*/ 4611048 w 9094123"/>
                  <a:gd name="connsiteY681" fmla="*/ 5934413 h 6849687"/>
                  <a:gd name="connsiteX682" fmla="*/ 4602991 w 9094123"/>
                  <a:gd name="connsiteY682" fmla="*/ 5932167 h 6849687"/>
                  <a:gd name="connsiteX683" fmla="*/ 4593182 w 9094123"/>
                  <a:gd name="connsiteY683" fmla="*/ 5653774 h 6849687"/>
                  <a:gd name="connsiteX684" fmla="*/ 4609808 w 9094123"/>
                  <a:gd name="connsiteY684" fmla="*/ 5648038 h 6849687"/>
                  <a:gd name="connsiteX685" fmla="*/ 4627015 w 9094123"/>
                  <a:gd name="connsiteY685" fmla="*/ 5592592 h 6849687"/>
                  <a:gd name="connsiteX686" fmla="*/ 4862099 w 9094123"/>
                  <a:gd name="connsiteY686" fmla="*/ 5445540 h 6849687"/>
                  <a:gd name="connsiteX687" fmla="*/ 4901169 w 9094123"/>
                  <a:gd name="connsiteY687" fmla="*/ 5451193 h 6849687"/>
                  <a:gd name="connsiteX688" fmla="*/ 4910147 w 9094123"/>
                  <a:gd name="connsiteY688" fmla="*/ 5442880 h 6849687"/>
                  <a:gd name="connsiteX689" fmla="*/ 4546132 w 9094123"/>
                  <a:gd name="connsiteY689" fmla="*/ 5595169 h 6849687"/>
                  <a:gd name="connsiteX690" fmla="*/ 4549291 w 9094123"/>
                  <a:gd name="connsiteY690" fmla="*/ 5633325 h 6849687"/>
                  <a:gd name="connsiteX691" fmla="*/ 4584371 w 9094123"/>
                  <a:gd name="connsiteY691" fmla="*/ 5654522 h 6849687"/>
                  <a:gd name="connsiteX692" fmla="*/ 4594097 w 9094123"/>
                  <a:gd name="connsiteY692" fmla="*/ 5932333 h 6849687"/>
                  <a:gd name="connsiteX693" fmla="*/ 4582542 w 9094123"/>
                  <a:gd name="connsiteY693" fmla="*/ 5936490 h 6849687"/>
                  <a:gd name="connsiteX694" fmla="*/ 4571237 w 9094123"/>
                  <a:gd name="connsiteY694" fmla="*/ 5978053 h 6849687"/>
                  <a:gd name="connsiteX695" fmla="*/ 4330168 w 9094123"/>
                  <a:gd name="connsiteY695" fmla="*/ 6128846 h 6849687"/>
                  <a:gd name="connsiteX696" fmla="*/ 4280291 w 9094123"/>
                  <a:gd name="connsiteY696" fmla="*/ 6117541 h 6849687"/>
                  <a:gd name="connsiteX697" fmla="*/ 4267905 w 9094123"/>
                  <a:gd name="connsiteY697" fmla="*/ 6130010 h 6849687"/>
                  <a:gd name="connsiteX698" fmla="*/ 4025174 w 9094123"/>
                  <a:gd name="connsiteY698" fmla="*/ 6001080 h 6849687"/>
                  <a:gd name="connsiteX699" fmla="*/ 4005269 w 9094123"/>
                  <a:gd name="connsiteY699" fmla="*/ 5953209 h 6849687"/>
                  <a:gd name="connsiteX700" fmla="*/ 3992421 w 9094123"/>
                  <a:gd name="connsiteY700" fmla="*/ 5950455 h 6849687"/>
                  <a:gd name="connsiteX701" fmla="*/ 3982446 w 9094123"/>
                  <a:gd name="connsiteY701" fmla="*/ 5666908 h 6849687"/>
                  <a:gd name="connsiteX702" fmla="*/ 3991840 w 9094123"/>
                  <a:gd name="connsiteY702" fmla="*/ 5663334 h 6849687"/>
                  <a:gd name="connsiteX703" fmla="*/ 4003311 w 9094123"/>
                  <a:gd name="connsiteY703" fmla="*/ 5622185 h 6849687"/>
                  <a:gd name="connsiteX704" fmla="*/ 4250864 w 9094123"/>
                  <a:gd name="connsiteY704" fmla="*/ 5467403 h 6849687"/>
                  <a:gd name="connsiteX705" fmla="*/ 4292428 w 9094123"/>
                  <a:gd name="connsiteY705" fmla="*/ 5475715 h 6849687"/>
                  <a:gd name="connsiteX706" fmla="*/ 4302653 w 9094123"/>
                  <a:gd name="connsiteY706" fmla="*/ 5465491 h 6849687"/>
                  <a:gd name="connsiteX707" fmla="*/ 3948281 w 9094123"/>
                  <a:gd name="connsiteY707" fmla="*/ 5622851 h 6849687"/>
                  <a:gd name="connsiteX708" fmla="*/ 3962351 w 9094123"/>
                  <a:gd name="connsiteY708" fmla="*/ 5664506 h 6849687"/>
                  <a:gd name="connsiteX709" fmla="*/ 3973967 w 9094123"/>
                  <a:gd name="connsiteY709" fmla="*/ 5667656 h 6849687"/>
                  <a:gd name="connsiteX710" fmla="*/ 3983942 w 9094123"/>
                  <a:gd name="connsiteY710" fmla="*/ 5951287 h 6849687"/>
                  <a:gd name="connsiteX711" fmla="*/ 3972471 w 9094123"/>
                  <a:gd name="connsiteY711" fmla="*/ 5955609 h 6849687"/>
                  <a:gd name="connsiteX712" fmla="*/ 3957591 w 9094123"/>
                  <a:gd name="connsiteY712" fmla="*/ 6001496 h 6849687"/>
                  <a:gd name="connsiteX713" fmla="*/ 3727246 w 9094123"/>
                  <a:gd name="connsiteY713" fmla="*/ 6145472 h 6849687"/>
                  <a:gd name="connsiteX714" fmla="*/ 3671384 w 9094123"/>
                  <a:gd name="connsiteY714" fmla="*/ 6136245 h 6849687"/>
                  <a:gd name="connsiteX715" fmla="*/ 3657502 w 9094123"/>
                  <a:gd name="connsiteY715" fmla="*/ 6149795 h 6849687"/>
                  <a:gd name="connsiteX716" fmla="*/ 3422252 w 9094123"/>
                  <a:gd name="connsiteY716" fmla="*/ 6025103 h 6849687"/>
                  <a:gd name="connsiteX717" fmla="*/ 3399777 w 9094123"/>
                  <a:gd name="connsiteY717" fmla="*/ 5967874 h 6849687"/>
                  <a:gd name="connsiteX718" fmla="*/ 3381852 w 9094123"/>
                  <a:gd name="connsiteY718" fmla="*/ 5964254 h 6849687"/>
                  <a:gd name="connsiteX719" fmla="*/ 3372209 w 9094123"/>
                  <a:gd name="connsiteY719" fmla="*/ 5690932 h 6849687"/>
                  <a:gd name="connsiteX720" fmla="*/ 3385426 w 9094123"/>
                  <a:gd name="connsiteY720" fmla="*/ 5686194 h 6849687"/>
                  <a:gd name="connsiteX721" fmla="*/ 3399973 w 9094123"/>
                  <a:gd name="connsiteY721" fmla="*/ 5639559 h 6849687"/>
                  <a:gd name="connsiteX722" fmla="*/ 3642705 w 9094123"/>
                  <a:gd name="connsiteY722" fmla="*/ 5487104 h 6849687"/>
                  <a:gd name="connsiteX723" fmla="*/ 3686093 w 9094123"/>
                  <a:gd name="connsiteY723" fmla="*/ 5491549 h 6849687"/>
                  <a:gd name="connsiteX724" fmla="*/ 3691501 w 9094123"/>
                  <a:gd name="connsiteY724" fmla="*/ 5485857 h 6849687"/>
                  <a:gd name="connsiteX725" fmla="*/ 3661076 w 9094123"/>
                  <a:gd name="connsiteY725" fmla="*/ 5437227 h 6849687"/>
                  <a:gd name="connsiteX726" fmla="*/ 3650436 w 9094123"/>
                  <a:gd name="connsiteY726" fmla="*/ 5441051 h 6849687"/>
                  <a:gd name="connsiteX727" fmla="*/ 3638216 w 9094123"/>
                  <a:gd name="connsiteY727" fmla="*/ 5480620 h 6849687"/>
                  <a:gd name="connsiteX728" fmla="*/ 3408452 w 9094123"/>
                  <a:gd name="connsiteY728" fmla="*/ 5624264 h 6849687"/>
                  <a:gd name="connsiteX729" fmla="*/ 3395734 w 9094123"/>
                  <a:gd name="connsiteY729" fmla="*/ 5632576 h 6849687"/>
                  <a:gd name="connsiteX730" fmla="*/ 3347520 w 9094123"/>
                  <a:gd name="connsiteY730" fmla="*/ 5623100 h 6849687"/>
                  <a:gd name="connsiteX731" fmla="*/ 3336049 w 9094123"/>
                  <a:gd name="connsiteY731" fmla="*/ 5634073 h 6849687"/>
                  <a:gd name="connsiteX732" fmla="*/ 3097307 w 9094123"/>
                  <a:gd name="connsiteY732" fmla="*/ 5507220 h 6849687"/>
                  <a:gd name="connsiteX733" fmla="*/ 3076714 w 9094123"/>
                  <a:gd name="connsiteY733" fmla="*/ 5449038 h 6849687"/>
                  <a:gd name="connsiteX734" fmla="*/ 3058736 w 9094123"/>
                  <a:gd name="connsiteY734" fmla="*/ 5444792 h 6849687"/>
                  <a:gd name="connsiteX735" fmla="*/ 3049176 w 9094123"/>
                  <a:gd name="connsiteY735" fmla="*/ 5171220 h 6849687"/>
                  <a:gd name="connsiteX736" fmla="*/ 3061147 w 9094123"/>
                  <a:gd name="connsiteY736" fmla="*/ 5166897 h 6849687"/>
                  <a:gd name="connsiteX737" fmla="*/ 3073117 w 9094123"/>
                  <a:gd name="connsiteY737" fmla="*/ 5122507 h 6849687"/>
                  <a:gd name="connsiteX738" fmla="*/ 3308450 w 9094123"/>
                  <a:gd name="connsiteY738" fmla="*/ 4975372 h 6849687"/>
                  <a:gd name="connsiteX739" fmla="*/ 3364478 w 9094123"/>
                  <a:gd name="connsiteY739" fmla="*/ 4984932 h 6849687"/>
                  <a:gd name="connsiteX740" fmla="*/ 3377113 w 9094123"/>
                  <a:gd name="connsiteY740" fmla="*/ 4973460 h 6849687"/>
                  <a:gd name="connsiteX741" fmla="*/ 3623170 w 9094123"/>
                  <a:gd name="connsiteY741" fmla="*/ 5104718 h 6849687"/>
                  <a:gd name="connsiteX742" fmla="*/ 3624916 w 9094123"/>
                  <a:gd name="connsiteY742" fmla="*/ 5135559 h 6849687"/>
                  <a:gd name="connsiteX743" fmla="*/ 3651018 w 9094123"/>
                  <a:gd name="connsiteY743" fmla="*/ 5151270 h 6849687"/>
                  <a:gd name="connsiteX744" fmla="*/ 5125197 w 9094123"/>
                  <a:gd name="connsiteY744" fmla="*/ 4518504 h 6849687"/>
                  <a:gd name="connsiteX745" fmla="*/ 5145869 w 9094123"/>
                  <a:gd name="connsiteY745" fmla="*/ 4568729 h 6849687"/>
                  <a:gd name="connsiteX746" fmla="*/ 5158448 w 9094123"/>
                  <a:gd name="connsiteY746" fmla="*/ 4571623 h 6849687"/>
                  <a:gd name="connsiteX747" fmla="*/ 5168423 w 9094123"/>
                  <a:gd name="connsiteY747" fmla="*/ 4855004 h 6849687"/>
                  <a:gd name="connsiteX748" fmla="*/ 5156951 w 9094123"/>
                  <a:gd name="connsiteY748" fmla="*/ 4859077 h 6849687"/>
                  <a:gd name="connsiteX749" fmla="*/ 5144732 w 9094123"/>
                  <a:gd name="connsiteY749" fmla="*/ 4898646 h 6849687"/>
                  <a:gd name="connsiteX750" fmla="*/ 4909648 w 9094123"/>
                  <a:gd name="connsiteY750" fmla="*/ 5045615 h 6849687"/>
                  <a:gd name="connsiteX751" fmla="*/ 4849440 w 9094123"/>
                  <a:gd name="connsiteY751" fmla="*/ 5033749 h 6849687"/>
                  <a:gd name="connsiteX752" fmla="*/ 4836413 w 9094123"/>
                  <a:gd name="connsiteY752" fmla="*/ 5047444 h 6849687"/>
                  <a:gd name="connsiteX753" fmla="*/ 4593099 w 9094123"/>
                  <a:gd name="connsiteY753" fmla="*/ 4918181 h 6849687"/>
                  <a:gd name="connsiteX754" fmla="*/ 4577842 w 9094123"/>
                  <a:gd name="connsiteY754" fmla="*/ 4876945 h 6849687"/>
                  <a:gd name="connsiteX755" fmla="*/ 4566000 w 9094123"/>
                  <a:gd name="connsiteY755" fmla="*/ 4874123 h 6849687"/>
                  <a:gd name="connsiteX756" fmla="*/ 4555858 w 9094123"/>
                  <a:gd name="connsiteY756" fmla="*/ 4583926 h 6849687"/>
                  <a:gd name="connsiteX757" fmla="*/ 4565085 w 9094123"/>
                  <a:gd name="connsiteY757" fmla="*/ 4580351 h 6849687"/>
                  <a:gd name="connsiteX758" fmla="*/ 4577970 w 9094123"/>
                  <a:gd name="connsiteY758" fmla="*/ 4542196 h 6849687"/>
                  <a:gd name="connsiteX759" fmla="*/ 4816379 w 9094123"/>
                  <a:gd name="connsiteY759" fmla="*/ 4393066 h 6849687"/>
                  <a:gd name="connsiteX760" fmla="*/ 4877604 w 9094123"/>
                  <a:gd name="connsiteY760" fmla="*/ 4399866 h 6849687"/>
                  <a:gd name="connsiteX761" fmla="*/ 4885790 w 9094123"/>
                  <a:gd name="connsiteY761" fmla="*/ 4391237 h 6849687"/>
                  <a:gd name="connsiteX762" fmla="*/ 4843811 w 9094123"/>
                  <a:gd name="connsiteY762" fmla="*/ 4322324 h 6849687"/>
                  <a:gd name="connsiteX763" fmla="*/ 4827601 w 9094123"/>
                  <a:gd name="connsiteY763" fmla="*/ 4328060 h 6849687"/>
                  <a:gd name="connsiteX764" fmla="*/ 4811558 w 9094123"/>
                  <a:gd name="connsiteY764" fmla="*/ 4386249 h 6849687"/>
                  <a:gd name="connsiteX765" fmla="*/ 4573731 w 9094123"/>
                  <a:gd name="connsiteY765" fmla="*/ 4534964 h 6849687"/>
                  <a:gd name="connsiteX766" fmla="*/ 4530367 w 9094123"/>
                  <a:gd name="connsiteY766" fmla="*/ 4528451 h 6849687"/>
                  <a:gd name="connsiteX767" fmla="*/ 4523854 w 9094123"/>
                  <a:gd name="connsiteY767" fmla="*/ 4534964 h 6849687"/>
                  <a:gd name="connsiteX768" fmla="*/ 4276966 w 9094123"/>
                  <a:gd name="connsiteY768" fmla="*/ 4403789 h 6849687"/>
                  <a:gd name="connsiteX769" fmla="*/ 4255821 w 9094123"/>
                  <a:gd name="connsiteY769" fmla="*/ 4353506 h 6849687"/>
                  <a:gd name="connsiteX770" fmla="*/ 4242551 w 9094123"/>
                  <a:gd name="connsiteY770" fmla="*/ 4350671 h 6849687"/>
                  <a:gd name="connsiteX771" fmla="*/ 4232493 w 9094123"/>
                  <a:gd name="connsiteY771" fmla="*/ 4066209 h 6849687"/>
                  <a:gd name="connsiteX772" fmla="*/ 4242884 w 9094123"/>
                  <a:gd name="connsiteY772" fmla="*/ 4062385 h 6849687"/>
                  <a:gd name="connsiteX773" fmla="*/ 4255187 w 9094123"/>
                  <a:gd name="connsiteY773" fmla="*/ 4022983 h 6849687"/>
                  <a:gd name="connsiteX774" fmla="*/ 4496921 w 9094123"/>
                  <a:gd name="connsiteY774" fmla="*/ 3871857 h 6849687"/>
                  <a:gd name="connsiteX775" fmla="*/ 4550720 w 9094123"/>
                  <a:gd name="connsiteY775" fmla="*/ 3877334 h 6849687"/>
                  <a:gd name="connsiteX776" fmla="*/ 4556856 w 9094123"/>
                  <a:gd name="connsiteY776" fmla="*/ 3871026 h 6849687"/>
                  <a:gd name="connsiteX777" fmla="*/ 4808898 w 9094123"/>
                  <a:gd name="connsiteY777" fmla="*/ 4004944 h 6849687"/>
                  <a:gd name="connsiteX778" fmla="*/ 4828164 w 9094123"/>
                  <a:gd name="connsiteY778" fmla="*/ 4043942 h 6849687"/>
                  <a:gd name="connsiteX779" fmla="*/ 4834335 w 9094123"/>
                  <a:gd name="connsiteY779" fmla="*/ 4045344 h 6849687"/>
                  <a:gd name="connsiteX780" fmla="*/ 7284677 w 9094123"/>
                  <a:gd name="connsiteY780" fmla="*/ 4242023 h 6849687"/>
                  <a:gd name="connsiteX781" fmla="*/ 7268052 w 9094123"/>
                  <a:gd name="connsiteY781" fmla="*/ 4247260 h 6849687"/>
                  <a:gd name="connsiteX782" fmla="*/ 7254502 w 9094123"/>
                  <a:gd name="connsiteY782" fmla="*/ 4299797 h 6849687"/>
                  <a:gd name="connsiteX783" fmla="*/ 7016675 w 9094123"/>
                  <a:gd name="connsiteY783" fmla="*/ 4448511 h 6849687"/>
                  <a:gd name="connsiteX784" fmla="*/ 6974230 w 9094123"/>
                  <a:gd name="connsiteY784" fmla="*/ 4444088 h 6849687"/>
                  <a:gd name="connsiteX785" fmla="*/ 6967214 w 9094123"/>
                  <a:gd name="connsiteY785" fmla="*/ 4452252 h 6849687"/>
                  <a:gd name="connsiteX786" fmla="*/ 6715338 w 9094123"/>
                  <a:gd name="connsiteY786" fmla="*/ 4318417 h 6849687"/>
                  <a:gd name="connsiteX787" fmla="*/ 6695327 w 9094123"/>
                  <a:gd name="connsiteY787" fmla="*/ 4267799 h 6849687"/>
                  <a:gd name="connsiteX788" fmla="*/ 6682669 w 9094123"/>
                  <a:gd name="connsiteY788" fmla="*/ 4264717 h 6849687"/>
                  <a:gd name="connsiteX789" fmla="*/ 6672777 w 9094123"/>
                  <a:gd name="connsiteY789" fmla="*/ 3983830 h 6849687"/>
                  <a:gd name="connsiteX790" fmla="*/ 6683002 w 9094123"/>
                  <a:gd name="connsiteY790" fmla="*/ 3980006 h 6849687"/>
                  <a:gd name="connsiteX791" fmla="*/ 6694640 w 9094123"/>
                  <a:gd name="connsiteY791" fmla="*/ 3939107 h 6849687"/>
                  <a:gd name="connsiteX792" fmla="*/ 6935127 w 9094123"/>
                  <a:gd name="connsiteY792" fmla="*/ 3788647 h 6849687"/>
                  <a:gd name="connsiteX793" fmla="*/ 6988759 w 9094123"/>
                  <a:gd name="connsiteY793" fmla="*/ 3796436 h 6849687"/>
                  <a:gd name="connsiteX794" fmla="*/ 6997722 w 9094123"/>
                  <a:gd name="connsiteY794" fmla="*/ 3786984 h 6849687"/>
                  <a:gd name="connsiteX795" fmla="*/ 7248683 w 9094123"/>
                  <a:gd name="connsiteY795" fmla="*/ 3919988 h 6849687"/>
                  <a:gd name="connsiteX796" fmla="*/ 7271256 w 9094123"/>
                  <a:gd name="connsiteY796" fmla="*/ 3957444 h 6849687"/>
                  <a:gd name="connsiteX797" fmla="*/ 7274452 w 9094123"/>
                  <a:gd name="connsiteY797" fmla="*/ 3958060 h 6849687"/>
                  <a:gd name="connsiteX798" fmla="*/ 8135817 w 9094123"/>
                  <a:gd name="connsiteY798" fmla="*/ 3353891 h 6849687"/>
                  <a:gd name="connsiteX799" fmla="*/ 8159710 w 9094123"/>
                  <a:gd name="connsiteY799" fmla="*/ 3410416 h 6849687"/>
                  <a:gd name="connsiteX800" fmla="*/ 8171978 w 9094123"/>
                  <a:gd name="connsiteY800" fmla="*/ 3413411 h 6849687"/>
                  <a:gd name="connsiteX801" fmla="*/ 8181454 w 9094123"/>
                  <a:gd name="connsiteY801" fmla="*/ 3682494 h 6849687"/>
                  <a:gd name="connsiteX802" fmla="*/ 8164829 w 9094123"/>
                  <a:gd name="connsiteY802" fmla="*/ 3687731 h 6849687"/>
                  <a:gd name="connsiteX803" fmla="*/ 8150946 w 9094123"/>
                  <a:gd name="connsiteY803" fmla="*/ 3739685 h 6849687"/>
                  <a:gd name="connsiteX804" fmla="*/ 7910542 w 9094123"/>
                  <a:gd name="connsiteY804" fmla="*/ 3890062 h 6849687"/>
                  <a:gd name="connsiteX805" fmla="*/ 7869976 w 9094123"/>
                  <a:gd name="connsiteY805" fmla="*/ 3882332 h 6849687"/>
                  <a:gd name="connsiteX806" fmla="*/ 7860998 w 9094123"/>
                  <a:gd name="connsiteY806" fmla="*/ 3890644 h 6849687"/>
                  <a:gd name="connsiteX807" fmla="*/ 7615274 w 9094123"/>
                  <a:gd name="connsiteY807" fmla="*/ 3760051 h 6849687"/>
                  <a:gd name="connsiteX808" fmla="*/ 7592795 w 9094123"/>
                  <a:gd name="connsiteY808" fmla="*/ 3702572 h 6849687"/>
                  <a:gd name="connsiteX809" fmla="*/ 7578615 w 9094123"/>
                  <a:gd name="connsiteY809" fmla="*/ 3699036 h 6849687"/>
                  <a:gd name="connsiteX810" fmla="*/ 7568806 w 9094123"/>
                  <a:gd name="connsiteY810" fmla="*/ 3421308 h 6849687"/>
                  <a:gd name="connsiteX811" fmla="*/ 7577950 w 9094123"/>
                  <a:gd name="connsiteY811" fmla="*/ 3417816 h 6849687"/>
                  <a:gd name="connsiteX812" fmla="*/ 7590668 w 9094123"/>
                  <a:gd name="connsiteY812" fmla="*/ 3379328 h 6849687"/>
                  <a:gd name="connsiteX813" fmla="*/ 7838388 w 9094123"/>
                  <a:gd name="connsiteY813" fmla="*/ 3224379 h 6849687"/>
                  <a:gd name="connsiteX814" fmla="*/ 7881972 w 9094123"/>
                  <a:gd name="connsiteY814" fmla="*/ 3229201 h 6849687"/>
                  <a:gd name="connsiteX815" fmla="*/ 7888264 w 9094123"/>
                  <a:gd name="connsiteY815" fmla="*/ 3222384 h 6849687"/>
                  <a:gd name="connsiteX816" fmla="*/ 6958901 w 9094123"/>
                  <a:gd name="connsiteY816" fmla="*/ 3461541 h 6849687"/>
                  <a:gd name="connsiteX817" fmla="*/ 6978852 w 9094123"/>
                  <a:gd name="connsiteY817" fmla="*/ 3454808 h 6849687"/>
                  <a:gd name="connsiteX818" fmla="*/ 6997556 w 9094123"/>
                  <a:gd name="connsiteY818" fmla="*/ 3389470 h 6849687"/>
                  <a:gd name="connsiteX819" fmla="*/ 7221002 w 9094123"/>
                  <a:gd name="connsiteY819" fmla="*/ 3249733 h 6849687"/>
                  <a:gd name="connsiteX820" fmla="*/ 7271709 w 9094123"/>
                  <a:gd name="connsiteY820" fmla="*/ 3259708 h 6849687"/>
                  <a:gd name="connsiteX821" fmla="*/ 7284345 w 9094123"/>
                  <a:gd name="connsiteY821" fmla="*/ 3247239 h 6849687"/>
                  <a:gd name="connsiteX822" fmla="*/ 7533727 w 9094123"/>
                  <a:gd name="connsiteY822" fmla="*/ 3379578 h 6849687"/>
                  <a:gd name="connsiteX823" fmla="*/ 7535805 w 9094123"/>
                  <a:gd name="connsiteY823" fmla="*/ 3407010 h 6849687"/>
                  <a:gd name="connsiteX824" fmla="*/ 7560743 w 9094123"/>
                  <a:gd name="connsiteY824" fmla="*/ 3422139 h 6849687"/>
                  <a:gd name="connsiteX825" fmla="*/ 7570552 w 9094123"/>
                  <a:gd name="connsiteY825" fmla="*/ 3699119 h 6849687"/>
                  <a:gd name="connsiteX826" fmla="*/ 7532386 w 9094123"/>
                  <a:gd name="connsiteY826" fmla="*/ 3747473 h 6849687"/>
                  <a:gd name="connsiteX827" fmla="*/ 7537301 w 9094123"/>
                  <a:gd name="connsiteY827" fmla="*/ 3763044 h 6849687"/>
                  <a:gd name="connsiteX828" fmla="*/ 7304129 w 9094123"/>
                  <a:gd name="connsiteY828" fmla="*/ 3908849 h 6849687"/>
                  <a:gd name="connsiteX829" fmla="*/ 7261087 w 9094123"/>
                  <a:gd name="connsiteY829" fmla="*/ 3902572 h 6849687"/>
                  <a:gd name="connsiteX830" fmla="*/ 7252840 w 9094123"/>
                  <a:gd name="connsiteY830" fmla="*/ 3911842 h 6849687"/>
                  <a:gd name="connsiteX831" fmla="*/ 7002460 w 9094123"/>
                  <a:gd name="connsiteY831" fmla="*/ 3778838 h 6849687"/>
                  <a:gd name="connsiteX832" fmla="*/ 6980401 w 9094123"/>
                  <a:gd name="connsiteY832" fmla="*/ 3729078 h 6849687"/>
                  <a:gd name="connsiteX833" fmla="*/ 6968544 w 9094123"/>
                  <a:gd name="connsiteY833" fmla="*/ 3726551 h 6849687"/>
                  <a:gd name="connsiteX834" fmla="*/ 6638861 w 9094123"/>
                  <a:gd name="connsiteY834" fmla="*/ 3940936 h 6849687"/>
                  <a:gd name="connsiteX835" fmla="*/ 6654344 w 9094123"/>
                  <a:gd name="connsiteY835" fmla="*/ 3981962 h 6849687"/>
                  <a:gd name="connsiteX836" fmla="*/ 6664215 w 9094123"/>
                  <a:gd name="connsiteY836" fmla="*/ 3984578 h 6849687"/>
                  <a:gd name="connsiteX837" fmla="*/ 6674107 w 9094123"/>
                  <a:gd name="connsiteY837" fmla="*/ 4265133 h 6849687"/>
                  <a:gd name="connsiteX838" fmla="*/ 6659975 w 9094123"/>
                  <a:gd name="connsiteY838" fmla="*/ 4270203 h 6849687"/>
                  <a:gd name="connsiteX839" fmla="*/ 6645428 w 9094123"/>
                  <a:gd name="connsiteY839" fmla="*/ 4320662 h 6849687"/>
                  <a:gd name="connsiteX840" fmla="*/ 6412672 w 9094123"/>
                  <a:gd name="connsiteY840" fmla="*/ 4465968 h 6849687"/>
                  <a:gd name="connsiteX841" fmla="*/ 6359358 w 9094123"/>
                  <a:gd name="connsiteY841" fmla="*/ 4456909 h 6849687"/>
                  <a:gd name="connsiteX842" fmla="*/ 6348331 w 9094123"/>
                  <a:gd name="connsiteY842" fmla="*/ 4469044 h 6849687"/>
                  <a:gd name="connsiteX843" fmla="*/ 6111585 w 9094123"/>
                  <a:gd name="connsiteY843" fmla="*/ 4342857 h 6849687"/>
                  <a:gd name="connsiteX844" fmla="*/ 6089705 w 9094123"/>
                  <a:gd name="connsiteY844" fmla="*/ 4285398 h 6849687"/>
                  <a:gd name="connsiteX845" fmla="*/ 6072100 w 9094123"/>
                  <a:gd name="connsiteY845" fmla="*/ 4281592 h 6849687"/>
                  <a:gd name="connsiteX846" fmla="*/ 6062291 w 9094123"/>
                  <a:gd name="connsiteY846" fmla="*/ 4002533 h 6849687"/>
                  <a:gd name="connsiteX847" fmla="*/ 6074011 w 9094123"/>
                  <a:gd name="connsiteY847" fmla="*/ 3998377 h 6849687"/>
                  <a:gd name="connsiteX848" fmla="*/ 6086647 w 9094123"/>
                  <a:gd name="connsiteY848" fmla="*/ 3959224 h 6849687"/>
                  <a:gd name="connsiteX849" fmla="*/ 6316826 w 9094123"/>
                  <a:gd name="connsiteY849" fmla="*/ 3815248 h 6849687"/>
                  <a:gd name="connsiteX850" fmla="*/ 6386807 w 9094123"/>
                  <a:gd name="connsiteY850" fmla="*/ 3824084 h 6849687"/>
                  <a:gd name="connsiteX851" fmla="*/ 6397793 w 9094123"/>
                  <a:gd name="connsiteY851" fmla="*/ 3812255 h 6849687"/>
                  <a:gd name="connsiteX852" fmla="*/ 6350244 w 9094123"/>
                  <a:gd name="connsiteY852" fmla="*/ 3735612 h 6849687"/>
                  <a:gd name="connsiteX853" fmla="*/ 6306528 w 9094123"/>
                  <a:gd name="connsiteY853" fmla="*/ 3790967 h 6849687"/>
                  <a:gd name="connsiteX854" fmla="*/ 6312088 w 9094123"/>
                  <a:gd name="connsiteY854" fmla="*/ 3808681 h 6849687"/>
                  <a:gd name="connsiteX855" fmla="*/ 6082075 w 9094123"/>
                  <a:gd name="connsiteY855" fmla="*/ 3952491 h 6849687"/>
                  <a:gd name="connsiteX856" fmla="*/ 6042008 w 9094123"/>
                  <a:gd name="connsiteY856" fmla="*/ 3945342 h 6849687"/>
                  <a:gd name="connsiteX857" fmla="*/ 6032032 w 9094123"/>
                  <a:gd name="connsiteY857" fmla="*/ 3955068 h 6849687"/>
                  <a:gd name="connsiteX858" fmla="*/ 5786059 w 9094123"/>
                  <a:gd name="connsiteY858" fmla="*/ 3824392 h 6849687"/>
                  <a:gd name="connsiteX859" fmla="*/ 5764093 w 9094123"/>
                  <a:gd name="connsiteY859" fmla="*/ 3766714 h 6849687"/>
                  <a:gd name="connsiteX860" fmla="*/ 5748652 w 9094123"/>
                  <a:gd name="connsiteY860" fmla="*/ 3762961 h 6849687"/>
                  <a:gd name="connsiteX861" fmla="*/ 5739009 w 9094123"/>
                  <a:gd name="connsiteY861" fmla="*/ 3489306 h 6849687"/>
                  <a:gd name="connsiteX862" fmla="*/ 5775504 w 9094123"/>
                  <a:gd name="connsiteY862" fmla="*/ 3449400 h 6849687"/>
                  <a:gd name="connsiteX863" fmla="*/ 5772259 w 9094123"/>
                  <a:gd name="connsiteY863" fmla="*/ 3435606 h 6849687"/>
                  <a:gd name="connsiteX864" fmla="*/ 5997867 w 9094123"/>
                  <a:gd name="connsiteY864" fmla="*/ 3294289 h 6849687"/>
                  <a:gd name="connsiteX865" fmla="*/ 6054726 w 9094123"/>
                  <a:gd name="connsiteY865" fmla="*/ 3305013 h 6849687"/>
                  <a:gd name="connsiteX866" fmla="*/ 6068193 w 9094123"/>
                  <a:gd name="connsiteY866" fmla="*/ 3292377 h 6849687"/>
                  <a:gd name="connsiteX867" fmla="*/ 6314083 w 9094123"/>
                  <a:gd name="connsiteY867" fmla="*/ 3422970 h 6849687"/>
                  <a:gd name="connsiteX868" fmla="*/ 6332574 w 9094123"/>
                  <a:gd name="connsiteY868" fmla="*/ 3462731 h 6849687"/>
                  <a:gd name="connsiteX869" fmla="*/ 6341017 w 9094123"/>
                  <a:gd name="connsiteY869" fmla="*/ 3464534 h 6849687"/>
                  <a:gd name="connsiteX870" fmla="*/ 7533892 w 9094123"/>
                  <a:gd name="connsiteY870" fmla="*/ 2646645 h 6849687"/>
                  <a:gd name="connsiteX871" fmla="*/ 7500180 w 9094123"/>
                  <a:gd name="connsiteY871" fmla="*/ 2689676 h 6849687"/>
                  <a:gd name="connsiteX872" fmla="*/ 7504382 w 9094123"/>
                  <a:gd name="connsiteY872" fmla="*/ 2703088 h 6849687"/>
                  <a:gd name="connsiteX873" fmla="*/ 7276863 w 9094123"/>
                  <a:gd name="connsiteY873" fmla="*/ 2845402 h 6849687"/>
                  <a:gd name="connsiteX874" fmla="*/ 7213270 w 9094123"/>
                  <a:gd name="connsiteY874" fmla="*/ 2835011 h 6849687"/>
                  <a:gd name="connsiteX875" fmla="*/ 7199887 w 9094123"/>
                  <a:gd name="connsiteY875" fmla="*/ 2846898 h 6849687"/>
                  <a:gd name="connsiteX876" fmla="*/ 6961645 w 9094123"/>
                  <a:gd name="connsiteY876" fmla="*/ 2720295 h 6849687"/>
                  <a:gd name="connsiteX877" fmla="*/ 6946176 w 9094123"/>
                  <a:gd name="connsiteY877" fmla="*/ 2675888 h 6849687"/>
                  <a:gd name="connsiteX878" fmla="*/ 6932300 w 9094123"/>
                  <a:gd name="connsiteY878" fmla="*/ 2672580 h 6849687"/>
                  <a:gd name="connsiteX879" fmla="*/ 6922491 w 9094123"/>
                  <a:gd name="connsiteY879" fmla="*/ 2394353 h 6849687"/>
                  <a:gd name="connsiteX880" fmla="*/ 6937039 w 9094123"/>
                  <a:gd name="connsiteY880" fmla="*/ 2389200 h 6849687"/>
                  <a:gd name="connsiteX881" fmla="*/ 6951170 w 9094123"/>
                  <a:gd name="connsiteY881" fmla="*/ 2337411 h 6849687"/>
                  <a:gd name="connsiteX882" fmla="*/ 7174783 w 9094123"/>
                  <a:gd name="connsiteY882" fmla="*/ 2197591 h 6849687"/>
                  <a:gd name="connsiteX883" fmla="*/ 7240620 w 9094123"/>
                  <a:gd name="connsiteY883" fmla="*/ 2210808 h 6849687"/>
                  <a:gd name="connsiteX884" fmla="*/ 7256830 w 9094123"/>
                  <a:gd name="connsiteY884" fmla="*/ 2195097 h 6849687"/>
                  <a:gd name="connsiteX885" fmla="*/ 7481273 w 9094123"/>
                  <a:gd name="connsiteY885" fmla="*/ 2314385 h 6849687"/>
                  <a:gd name="connsiteX886" fmla="*/ 7507175 w 9094123"/>
                  <a:gd name="connsiteY886" fmla="*/ 2379993 h 6849687"/>
                  <a:gd name="connsiteX887" fmla="*/ 7524416 w 9094123"/>
                  <a:gd name="connsiteY887" fmla="*/ 2384045 h 6849687"/>
                  <a:gd name="connsiteX888" fmla="*/ 9005245 w 9094123"/>
                  <a:gd name="connsiteY888" fmla="*/ 1741139 h 6849687"/>
                  <a:gd name="connsiteX889" fmla="*/ 9020975 w 9094123"/>
                  <a:gd name="connsiteY889" fmla="*/ 1782196 h 6849687"/>
                  <a:gd name="connsiteX890" fmla="*/ 9031014 w 9094123"/>
                  <a:gd name="connsiteY890" fmla="*/ 1784781 h 6849687"/>
                  <a:gd name="connsiteX891" fmla="*/ 9040491 w 9094123"/>
                  <a:gd name="connsiteY891" fmla="*/ 2053033 h 6849687"/>
                  <a:gd name="connsiteX892" fmla="*/ 8994722 w 9094123"/>
                  <a:gd name="connsiteY892" fmla="*/ 2106703 h 6849687"/>
                  <a:gd name="connsiteX893" fmla="*/ 9001338 w 9094123"/>
                  <a:gd name="connsiteY893" fmla="*/ 2127847 h 6849687"/>
                  <a:gd name="connsiteX894" fmla="*/ 8771325 w 9094123"/>
                  <a:gd name="connsiteY894" fmla="*/ 2271741 h 6849687"/>
                  <a:gd name="connsiteX895" fmla="*/ 8729761 w 9094123"/>
                  <a:gd name="connsiteY895" fmla="*/ 2262098 h 6849687"/>
                  <a:gd name="connsiteX896" fmla="*/ 8719703 w 9094123"/>
                  <a:gd name="connsiteY896" fmla="*/ 2271990 h 6849687"/>
                  <a:gd name="connsiteX897" fmla="*/ 8482957 w 9094123"/>
                  <a:gd name="connsiteY897" fmla="*/ 2145387 h 6849687"/>
                  <a:gd name="connsiteX898" fmla="*/ 8459867 w 9094123"/>
                  <a:gd name="connsiteY898" fmla="*/ 2078737 h 6849687"/>
                  <a:gd name="connsiteX899" fmla="*/ 8437819 w 9094123"/>
                  <a:gd name="connsiteY899" fmla="*/ 2073731 h 6849687"/>
                  <a:gd name="connsiteX900" fmla="*/ 8428342 w 9094123"/>
                  <a:gd name="connsiteY900" fmla="*/ 1804565 h 6849687"/>
                  <a:gd name="connsiteX901" fmla="*/ 8454236 w 9094123"/>
                  <a:gd name="connsiteY901" fmla="*/ 1769323 h 6849687"/>
                  <a:gd name="connsiteX902" fmla="*/ 8451119 w 9094123"/>
                  <a:gd name="connsiteY902" fmla="*/ 1759760 h 6849687"/>
                  <a:gd name="connsiteX903" fmla="*/ 8682711 w 9094123"/>
                  <a:gd name="connsiteY903" fmla="*/ 1615035 h 6849687"/>
                  <a:gd name="connsiteX904" fmla="*/ 8752400 w 9094123"/>
                  <a:gd name="connsiteY904" fmla="*/ 1625930 h 6849687"/>
                  <a:gd name="connsiteX905" fmla="*/ 8764840 w 9094123"/>
                  <a:gd name="connsiteY905" fmla="*/ 1612791 h 6849687"/>
                  <a:gd name="connsiteX906" fmla="*/ 8395091 w 9094123"/>
                  <a:gd name="connsiteY906" fmla="*/ 1762918 h 6849687"/>
                  <a:gd name="connsiteX907" fmla="*/ 8397086 w 9094123"/>
                  <a:gd name="connsiteY907" fmla="*/ 1790683 h 6849687"/>
                  <a:gd name="connsiteX908" fmla="*/ 8420362 w 9094123"/>
                  <a:gd name="connsiteY908" fmla="*/ 1805563 h 6849687"/>
                  <a:gd name="connsiteX909" fmla="*/ 8429921 w 9094123"/>
                  <a:gd name="connsiteY909" fmla="*/ 2075477 h 6849687"/>
                  <a:gd name="connsiteX910" fmla="*/ 8389425 w 9094123"/>
                  <a:gd name="connsiteY910" fmla="*/ 2133230 h 6849687"/>
                  <a:gd name="connsiteX911" fmla="*/ 8394010 w 9094123"/>
                  <a:gd name="connsiteY911" fmla="*/ 2147050 h 6849687"/>
                  <a:gd name="connsiteX912" fmla="*/ 8161254 w 9094123"/>
                  <a:gd name="connsiteY912" fmla="*/ 2292855 h 6849687"/>
                  <a:gd name="connsiteX913" fmla="*/ 8118265 w 9094123"/>
                  <a:gd name="connsiteY913" fmla="*/ 2286224 h 6849687"/>
                  <a:gd name="connsiteX914" fmla="*/ 8110713 w 9094123"/>
                  <a:gd name="connsiteY914" fmla="*/ 2294185 h 6849687"/>
                  <a:gd name="connsiteX915" fmla="*/ 7871639 w 9094123"/>
                  <a:gd name="connsiteY915" fmla="*/ 2167083 h 6849687"/>
                  <a:gd name="connsiteX916" fmla="*/ 7846546 w 9094123"/>
                  <a:gd name="connsiteY916" fmla="*/ 2101162 h 6849687"/>
                  <a:gd name="connsiteX917" fmla="*/ 7828329 w 9094123"/>
                  <a:gd name="connsiteY917" fmla="*/ 2096841 h 6849687"/>
                  <a:gd name="connsiteX918" fmla="*/ 7818770 w 9094123"/>
                  <a:gd name="connsiteY918" fmla="*/ 1824599 h 6849687"/>
                  <a:gd name="connsiteX919" fmla="*/ 7829743 w 9094123"/>
                  <a:gd name="connsiteY919" fmla="*/ 1820609 h 6849687"/>
                  <a:gd name="connsiteX920" fmla="*/ 7842128 w 9094123"/>
                  <a:gd name="connsiteY920" fmla="*/ 1781456 h 6849687"/>
                  <a:gd name="connsiteX921" fmla="*/ 8084777 w 9094123"/>
                  <a:gd name="connsiteY921" fmla="*/ 1629749 h 6849687"/>
                  <a:gd name="connsiteX922" fmla="*/ 8131578 w 9094123"/>
                  <a:gd name="connsiteY922" fmla="*/ 1638311 h 6849687"/>
                  <a:gd name="connsiteX923" fmla="*/ 8142634 w 9094123"/>
                  <a:gd name="connsiteY923" fmla="*/ 1627920 h 6849687"/>
                  <a:gd name="connsiteX924" fmla="*/ 7455919 w 9094123"/>
                  <a:gd name="connsiteY924" fmla="*/ 258398 h 6849687"/>
                  <a:gd name="connsiteX925" fmla="*/ 7488785 w 9094123"/>
                  <a:gd name="connsiteY925" fmla="*/ 214716 h 6849687"/>
                  <a:gd name="connsiteX926" fmla="*/ 7484847 w 9094123"/>
                  <a:gd name="connsiteY926" fmla="*/ 202370 h 6849687"/>
                  <a:gd name="connsiteX927" fmla="*/ 7726499 w 9094123"/>
                  <a:gd name="connsiteY927" fmla="*/ 51245 h 6849687"/>
                  <a:gd name="connsiteX928" fmla="*/ 7770165 w 9094123"/>
                  <a:gd name="connsiteY928" fmla="*/ 55245 h 6849687"/>
                  <a:gd name="connsiteX929" fmla="*/ 7774962 w 9094123"/>
                  <a:gd name="connsiteY929" fmla="*/ 50247 h 6849687"/>
                  <a:gd name="connsiteX930" fmla="*/ 8031825 w 9094123"/>
                  <a:gd name="connsiteY930" fmla="*/ 186410 h 6849687"/>
                  <a:gd name="connsiteX931" fmla="*/ 8033488 w 9094123"/>
                  <a:gd name="connsiteY931" fmla="*/ 215172 h 6849687"/>
                  <a:gd name="connsiteX932" fmla="*/ 8058426 w 9094123"/>
                  <a:gd name="connsiteY932" fmla="*/ 230218 h 6849687"/>
                  <a:gd name="connsiteX933" fmla="*/ 8068318 w 9094123"/>
                  <a:gd name="connsiteY933" fmla="*/ 510523 h 6849687"/>
                  <a:gd name="connsiteX934" fmla="*/ 8033905 w 9094123"/>
                  <a:gd name="connsiteY934" fmla="*/ 552694 h 6849687"/>
                  <a:gd name="connsiteX935" fmla="*/ 8038392 w 9094123"/>
                  <a:gd name="connsiteY935" fmla="*/ 567216 h 6849687"/>
                  <a:gd name="connsiteX936" fmla="*/ 7797323 w 9094123"/>
                  <a:gd name="connsiteY936" fmla="*/ 717842 h 6849687"/>
                  <a:gd name="connsiteX937" fmla="*/ 7757089 w 9094123"/>
                  <a:gd name="connsiteY937" fmla="*/ 710527 h 6849687"/>
                  <a:gd name="connsiteX938" fmla="*/ 7748776 w 9094123"/>
                  <a:gd name="connsiteY938" fmla="*/ 717926 h 6849687"/>
                  <a:gd name="connsiteX939" fmla="*/ 7492246 w 9094123"/>
                  <a:gd name="connsiteY939" fmla="*/ 581597 h 6849687"/>
                  <a:gd name="connsiteX940" fmla="*/ 7489669 w 9094123"/>
                  <a:gd name="connsiteY940" fmla="*/ 555495 h 6849687"/>
                  <a:gd name="connsiteX941" fmla="*/ 7466061 w 9094123"/>
                  <a:gd name="connsiteY941" fmla="*/ 540615 h 6849687"/>
                  <a:gd name="connsiteX942" fmla="*/ 7169546 w 9094123"/>
                  <a:gd name="connsiteY942" fmla="*/ 790413 h 6849687"/>
                  <a:gd name="connsiteX943" fmla="*/ 7180269 w 9094123"/>
                  <a:gd name="connsiteY943" fmla="*/ 786506 h 6849687"/>
                  <a:gd name="connsiteX944" fmla="*/ 7192073 w 9094123"/>
                  <a:gd name="connsiteY944" fmla="*/ 745939 h 6849687"/>
                  <a:gd name="connsiteX945" fmla="*/ 7438795 w 9094123"/>
                  <a:gd name="connsiteY945" fmla="*/ 591655 h 6849687"/>
                  <a:gd name="connsiteX946" fmla="*/ 7482165 w 9094123"/>
                  <a:gd name="connsiteY946" fmla="*/ 596269 h 6849687"/>
                  <a:gd name="connsiteX947" fmla="*/ 7488089 w 9094123"/>
                  <a:gd name="connsiteY947" fmla="*/ 589910 h 6849687"/>
                  <a:gd name="connsiteX948" fmla="*/ 7744122 w 9094123"/>
                  <a:gd name="connsiteY948" fmla="*/ 725906 h 6849687"/>
                  <a:gd name="connsiteX949" fmla="*/ 7760768 w 9094123"/>
                  <a:gd name="connsiteY949" fmla="*/ 766346 h 6849687"/>
                  <a:gd name="connsiteX950" fmla="*/ 7771886 w 9094123"/>
                  <a:gd name="connsiteY950" fmla="*/ 768716 h 6849687"/>
                  <a:gd name="connsiteX951" fmla="*/ 7781944 w 9094123"/>
                  <a:gd name="connsiteY951" fmla="*/ 1053344 h 6849687"/>
                  <a:gd name="connsiteX952" fmla="*/ 7768478 w 9094123"/>
                  <a:gd name="connsiteY952" fmla="*/ 1058082 h 6849687"/>
                  <a:gd name="connsiteX953" fmla="*/ 7754928 w 9094123"/>
                  <a:gd name="connsiteY953" fmla="*/ 1104883 h 6849687"/>
                  <a:gd name="connsiteX954" fmla="*/ 7511282 w 9094123"/>
                  <a:gd name="connsiteY954" fmla="*/ 1257172 h 6849687"/>
                  <a:gd name="connsiteX955" fmla="*/ 7472877 w 9094123"/>
                  <a:gd name="connsiteY955" fmla="*/ 1252018 h 6849687"/>
                  <a:gd name="connsiteX956" fmla="*/ 7465313 w 9094123"/>
                  <a:gd name="connsiteY956" fmla="*/ 1258585 h 6849687"/>
                  <a:gd name="connsiteX957" fmla="*/ 7212523 w 9094123"/>
                  <a:gd name="connsiteY957" fmla="*/ 1124252 h 6849687"/>
                  <a:gd name="connsiteX958" fmla="*/ 7189738 w 9094123"/>
                  <a:gd name="connsiteY958" fmla="*/ 1074820 h 6849687"/>
                  <a:gd name="connsiteX959" fmla="*/ 7179272 w 9094123"/>
                  <a:gd name="connsiteY959" fmla="*/ 1072547 h 6849687"/>
                  <a:gd name="connsiteX960" fmla="*/ 6311090 w 9094123"/>
                  <a:gd name="connsiteY960" fmla="*/ 1682036 h 6849687"/>
                  <a:gd name="connsiteX961" fmla="*/ 6295284 w 9094123"/>
                  <a:gd name="connsiteY961" fmla="*/ 1640882 h 6849687"/>
                  <a:gd name="connsiteX962" fmla="*/ 6284157 w 9094123"/>
                  <a:gd name="connsiteY962" fmla="*/ 1638228 h 6849687"/>
                  <a:gd name="connsiteX963" fmla="*/ 6274265 w 9094123"/>
                  <a:gd name="connsiteY963" fmla="*/ 1356426 h 6849687"/>
                  <a:gd name="connsiteX964" fmla="*/ 6289394 w 9094123"/>
                  <a:gd name="connsiteY964" fmla="*/ 1351272 h 6849687"/>
                  <a:gd name="connsiteX965" fmla="*/ 6304191 w 9094123"/>
                  <a:gd name="connsiteY965" fmla="*/ 1301396 h 6849687"/>
                  <a:gd name="connsiteX966" fmla="*/ 6543515 w 9094123"/>
                  <a:gd name="connsiteY966" fmla="*/ 1151767 h 6849687"/>
                  <a:gd name="connsiteX967" fmla="*/ 6584413 w 9094123"/>
                  <a:gd name="connsiteY967" fmla="*/ 1160080 h 6849687"/>
                  <a:gd name="connsiteX968" fmla="*/ 6594305 w 9094123"/>
                  <a:gd name="connsiteY968" fmla="*/ 1150520 h 6849687"/>
                  <a:gd name="connsiteX969" fmla="*/ 6833961 w 9094123"/>
                  <a:gd name="connsiteY969" fmla="*/ 1277538 h 6849687"/>
                  <a:gd name="connsiteX970" fmla="*/ 6858492 w 9094123"/>
                  <a:gd name="connsiteY970" fmla="*/ 1343671 h 6849687"/>
                  <a:gd name="connsiteX971" fmla="*/ 6876107 w 9094123"/>
                  <a:gd name="connsiteY971" fmla="*/ 1348114 h 6849687"/>
                  <a:gd name="connsiteX972" fmla="*/ 6885334 w 9094123"/>
                  <a:gd name="connsiteY972" fmla="*/ 1610131 h 6849687"/>
                  <a:gd name="connsiteX973" fmla="*/ 6870703 w 9094123"/>
                  <a:gd name="connsiteY973" fmla="*/ 1615284 h 6849687"/>
                  <a:gd name="connsiteX974" fmla="*/ 6856322 w 9094123"/>
                  <a:gd name="connsiteY974" fmla="*/ 1666408 h 6849687"/>
                  <a:gd name="connsiteX975" fmla="*/ 6616916 w 9094123"/>
                  <a:gd name="connsiteY975" fmla="*/ 1816037 h 6849687"/>
                  <a:gd name="connsiteX976" fmla="*/ 6577015 w 9094123"/>
                  <a:gd name="connsiteY976" fmla="*/ 1809137 h 6849687"/>
                  <a:gd name="connsiteX977" fmla="*/ 6567372 w 9094123"/>
                  <a:gd name="connsiteY977" fmla="*/ 1818364 h 6849687"/>
                  <a:gd name="connsiteX978" fmla="*/ 6926232 w 9094123"/>
                  <a:gd name="connsiteY978" fmla="*/ 1663748 h 6849687"/>
                  <a:gd name="connsiteX979" fmla="*/ 6906087 w 9094123"/>
                  <a:gd name="connsiteY979" fmla="*/ 1613056 h 6849687"/>
                  <a:gd name="connsiteX980" fmla="*/ 6894145 w 9094123"/>
                  <a:gd name="connsiteY980" fmla="*/ 1610047 h 6849687"/>
                  <a:gd name="connsiteX981" fmla="*/ 6884669 w 9094123"/>
                  <a:gd name="connsiteY981" fmla="*/ 1347864 h 6849687"/>
                  <a:gd name="connsiteX982" fmla="*/ 6928406 w 9094123"/>
                  <a:gd name="connsiteY982" fmla="*/ 1292526 h 6849687"/>
                  <a:gd name="connsiteX983" fmla="*/ 6922575 w 9094123"/>
                  <a:gd name="connsiteY983" fmla="*/ 1274296 h 6849687"/>
                  <a:gd name="connsiteX984" fmla="*/ 7145605 w 9094123"/>
                  <a:gd name="connsiteY984" fmla="*/ 1134726 h 6849687"/>
                  <a:gd name="connsiteX985" fmla="*/ 7195482 w 9094123"/>
                  <a:gd name="connsiteY985" fmla="*/ 1144036 h 6849687"/>
                  <a:gd name="connsiteX986" fmla="*/ 7207701 w 9094123"/>
                  <a:gd name="connsiteY986" fmla="*/ 1132232 h 6849687"/>
                  <a:gd name="connsiteX987" fmla="*/ 7459660 w 9094123"/>
                  <a:gd name="connsiteY987" fmla="*/ 1266067 h 6849687"/>
                  <a:gd name="connsiteX988" fmla="*/ 7475666 w 9094123"/>
                  <a:gd name="connsiteY988" fmla="*/ 1306891 h 6849687"/>
                  <a:gd name="connsiteX989" fmla="*/ 7485513 w 9094123"/>
                  <a:gd name="connsiteY989" fmla="*/ 1309376 h 6849687"/>
                  <a:gd name="connsiteX990" fmla="*/ 7494906 w 9094123"/>
                  <a:gd name="connsiteY990" fmla="*/ 1577794 h 6849687"/>
                  <a:gd name="connsiteX991" fmla="*/ 7475537 w 9094123"/>
                  <a:gd name="connsiteY991" fmla="*/ 1584527 h 6849687"/>
                  <a:gd name="connsiteX992" fmla="*/ 7457166 w 9094123"/>
                  <a:gd name="connsiteY992" fmla="*/ 1650614 h 6849687"/>
                  <a:gd name="connsiteX993" fmla="*/ 7226239 w 9094123"/>
                  <a:gd name="connsiteY993" fmla="*/ 1795421 h 6849687"/>
                  <a:gd name="connsiteX994" fmla="*/ 7185589 w 9094123"/>
                  <a:gd name="connsiteY994" fmla="*/ 1787108 h 6849687"/>
                  <a:gd name="connsiteX995" fmla="*/ 7176030 w 9094123"/>
                  <a:gd name="connsiteY995" fmla="*/ 1796169 h 6849687"/>
                  <a:gd name="connsiteX996" fmla="*/ 7207452 w 9094123"/>
                  <a:gd name="connsiteY996" fmla="*/ 1844716 h 6849687"/>
                  <a:gd name="connsiteX997" fmla="*/ 7217676 w 9094123"/>
                  <a:gd name="connsiteY997" fmla="*/ 1840975 h 6849687"/>
                  <a:gd name="connsiteX998" fmla="*/ 7230395 w 9094123"/>
                  <a:gd name="connsiteY998" fmla="*/ 1802570 h 6849687"/>
                  <a:gd name="connsiteX999" fmla="*/ 7462320 w 9094123"/>
                  <a:gd name="connsiteY999" fmla="*/ 1657596 h 6849687"/>
                  <a:gd name="connsiteX1000" fmla="*/ 7527492 w 9094123"/>
                  <a:gd name="connsiteY1000" fmla="*/ 1670065 h 6849687"/>
                  <a:gd name="connsiteX1001" fmla="*/ 7543120 w 9094123"/>
                  <a:gd name="connsiteY1001" fmla="*/ 1655186 h 6849687"/>
                  <a:gd name="connsiteX1002" fmla="*/ 7783690 w 9094123"/>
                  <a:gd name="connsiteY1002" fmla="*/ 1783035 h 6849687"/>
                  <a:gd name="connsiteX1003" fmla="*/ 7786267 w 9094123"/>
                  <a:gd name="connsiteY1003" fmla="*/ 1809220 h 6849687"/>
                  <a:gd name="connsiteX1004" fmla="*/ 7809294 w 9094123"/>
                  <a:gd name="connsiteY1004" fmla="*/ 1824017 h 6849687"/>
                  <a:gd name="connsiteX1005" fmla="*/ 7818936 w 9094123"/>
                  <a:gd name="connsiteY1005" fmla="*/ 2096591 h 6849687"/>
                  <a:gd name="connsiteX1006" fmla="*/ 7799817 w 9094123"/>
                  <a:gd name="connsiteY1006" fmla="*/ 2103242 h 6849687"/>
                  <a:gd name="connsiteX1007" fmla="*/ 7781280 w 9094123"/>
                  <a:gd name="connsiteY1007" fmla="*/ 2168995 h 6849687"/>
                  <a:gd name="connsiteX1008" fmla="*/ 7566312 w 9094123"/>
                  <a:gd name="connsiteY1008" fmla="*/ 2303329 h 6849687"/>
                  <a:gd name="connsiteX1009" fmla="*/ 7501473 w 9094123"/>
                  <a:gd name="connsiteY1009" fmla="*/ 2291442 h 6849687"/>
                  <a:gd name="connsiteX1010" fmla="*/ 7485845 w 9094123"/>
                  <a:gd name="connsiteY1010" fmla="*/ 2306322 h 6849687"/>
                  <a:gd name="connsiteX1011" fmla="*/ 7261235 w 9094123"/>
                  <a:gd name="connsiteY1011" fmla="*/ 2186951 h 6849687"/>
                  <a:gd name="connsiteX1012" fmla="*/ 7233878 w 9094123"/>
                  <a:gd name="connsiteY1012" fmla="*/ 2121936 h 6849687"/>
                  <a:gd name="connsiteX1013" fmla="*/ 7217095 w 9094123"/>
                  <a:gd name="connsiteY1013" fmla="*/ 2118288 h 6849687"/>
                  <a:gd name="connsiteX1014" fmla="*/ 6312171 w 9094123"/>
                  <a:gd name="connsiteY1014" fmla="*/ 2424279 h 6849687"/>
                  <a:gd name="connsiteX1015" fmla="*/ 6355425 w 9094123"/>
                  <a:gd name="connsiteY1015" fmla="*/ 2368562 h 6849687"/>
                  <a:gd name="connsiteX1016" fmla="*/ 6350659 w 9094123"/>
                  <a:gd name="connsiteY1016" fmla="*/ 2352707 h 6849687"/>
                  <a:gd name="connsiteX1017" fmla="*/ 6576433 w 9094123"/>
                  <a:gd name="connsiteY1017" fmla="*/ 2211390 h 6849687"/>
                  <a:gd name="connsiteX1018" fmla="*/ 6630257 w 9094123"/>
                  <a:gd name="connsiteY1018" fmla="*/ 2220244 h 6849687"/>
                  <a:gd name="connsiteX1019" fmla="*/ 6639110 w 9094123"/>
                  <a:gd name="connsiteY1019" fmla="*/ 2211390 h 6849687"/>
                  <a:gd name="connsiteX1020" fmla="*/ 6881510 w 9094123"/>
                  <a:gd name="connsiteY1020" fmla="*/ 2340154 h 6849687"/>
                  <a:gd name="connsiteX1021" fmla="*/ 6901425 w 9094123"/>
                  <a:gd name="connsiteY1021" fmla="*/ 2390937 h 6849687"/>
                  <a:gd name="connsiteX1022" fmla="*/ 6913597 w 9094123"/>
                  <a:gd name="connsiteY1022" fmla="*/ 2394021 h 6849687"/>
                  <a:gd name="connsiteX1023" fmla="*/ 6923489 w 9094123"/>
                  <a:gd name="connsiteY1023" fmla="*/ 2673329 h 6849687"/>
                  <a:gd name="connsiteX1024" fmla="*/ 6899312 w 9094123"/>
                  <a:gd name="connsiteY1024" fmla="*/ 2712284 h 6849687"/>
                  <a:gd name="connsiteX1025" fmla="*/ 6901792 w 9094123"/>
                  <a:gd name="connsiteY1025" fmla="*/ 2719215 h 6849687"/>
                  <a:gd name="connsiteX1026" fmla="*/ 6669535 w 9094123"/>
                  <a:gd name="connsiteY1026" fmla="*/ 2864355 h 6849687"/>
                  <a:gd name="connsiteX1027" fmla="*/ 6603033 w 9094123"/>
                  <a:gd name="connsiteY1027" fmla="*/ 2850057 h 6849687"/>
                  <a:gd name="connsiteX1028" fmla="*/ 6586408 w 9094123"/>
                  <a:gd name="connsiteY1028" fmla="*/ 2866017 h 6849687"/>
                  <a:gd name="connsiteX1029" fmla="*/ 6344341 w 9094123"/>
                  <a:gd name="connsiteY1029" fmla="*/ 2737170 h 6849687"/>
                  <a:gd name="connsiteX1030" fmla="*/ 6342513 w 9094123"/>
                  <a:gd name="connsiteY1030" fmla="*/ 2710985 h 6849687"/>
                  <a:gd name="connsiteX1031" fmla="*/ 6321481 w 9094123"/>
                  <a:gd name="connsiteY1031" fmla="*/ 2697269 h 6849687"/>
                  <a:gd name="connsiteX1032" fmla="*/ 6024301 w 9094123"/>
                  <a:gd name="connsiteY1032" fmla="*/ 2948979 h 6849687"/>
                  <a:gd name="connsiteX1033" fmla="*/ 6035939 w 9094123"/>
                  <a:gd name="connsiteY1033" fmla="*/ 2944739 h 6849687"/>
                  <a:gd name="connsiteX1034" fmla="*/ 6048658 w 9094123"/>
                  <a:gd name="connsiteY1034" fmla="*/ 2901845 h 6849687"/>
                  <a:gd name="connsiteX1035" fmla="*/ 6297292 w 9094123"/>
                  <a:gd name="connsiteY1035" fmla="*/ 2746397 h 6849687"/>
                  <a:gd name="connsiteX1036" fmla="*/ 6332870 w 9094123"/>
                  <a:gd name="connsiteY1036" fmla="*/ 2750886 h 6849687"/>
                  <a:gd name="connsiteX1037" fmla="*/ 6339936 w 9094123"/>
                  <a:gd name="connsiteY1037" fmla="*/ 2744818 h 6849687"/>
                  <a:gd name="connsiteX1038" fmla="*/ 6582584 w 9094123"/>
                  <a:gd name="connsiteY1038" fmla="*/ 2873748 h 6849687"/>
                  <a:gd name="connsiteX1039" fmla="*/ 6609963 w 9094123"/>
                  <a:gd name="connsiteY1039" fmla="*/ 2938754 h 6849687"/>
                  <a:gd name="connsiteX1040" fmla="*/ 6627141 w 9094123"/>
                  <a:gd name="connsiteY1040" fmla="*/ 2942411 h 6849687"/>
                  <a:gd name="connsiteX1041" fmla="*/ 6636451 w 9094123"/>
                  <a:gd name="connsiteY1041" fmla="*/ 3208003 h 6849687"/>
                  <a:gd name="connsiteX1042" fmla="*/ 6622236 w 9094123"/>
                  <a:gd name="connsiteY1042" fmla="*/ 3213074 h 6849687"/>
                  <a:gd name="connsiteX1043" fmla="*/ 6607439 w 9094123"/>
                  <a:gd name="connsiteY1043" fmla="*/ 3262950 h 6849687"/>
                  <a:gd name="connsiteX1044" fmla="*/ 6366786 w 9094123"/>
                  <a:gd name="connsiteY1044" fmla="*/ 3413411 h 6849687"/>
                  <a:gd name="connsiteX1045" fmla="*/ 6326802 w 9094123"/>
                  <a:gd name="connsiteY1045" fmla="*/ 3406511 h 6849687"/>
                  <a:gd name="connsiteX1046" fmla="*/ 6318489 w 9094123"/>
                  <a:gd name="connsiteY1046" fmla="*/ 3414408 h 6849687"/>
                  <a:gd name="connsiteX1047" fmla="*/ 6072183 w 9094123"/>
                  <a:gd name="connsiteY1047" fmla="*/ 3284231 h 6849687"/>
                  <a:gd name="connsiteX1048" fmla="*/ 6048875 w 9094123"/>
                  <a:gd name="connsiteY1048" fmla="*/ 3227082 h 6849687"/>
                  <a:gd name="connsiteX1049" fmla="*/ 6033944 w 9094123"/>
                  <a:gd name="connsiteY1049" fmla="*/ 3223714 h 6849687"/>
                  <a:gd name="connsiteX1050" fmla="*/ 5698941 w 9094123"/>
                  <a:gd name="connsiteY1050" fmla="*/ 3440510 h 6849687"/>
                  <a:gd name="connsiteX1051" fmla="*/ 5726345 w 9094123"/>
                  <a:gd name="connsiteY1051" fmla="*/ 3487675 h 6849687"/>
                  <a:gd name="connsiteX1052" fmla="*/ 5730114 w 9094123"/>
                  <a:gd name="connsiteY1052" fmla="*/ 3488475 h 6849687"/>
                  <a:gd name="connsiteX1053" fmla="*/ 5739840 w 9094123"/>
                  <a:gd name="connsiteY1053" fmla="*/ 3762795 h 6849687"/>
                  <a:gd name="connsiteX1054" fmla="*/ 5723215 w 9094123"/>
                  <a:gd name="connsiteY1054" fmla="*/ 3768614 h 6849687"/>
                  <a:gd name="connsiteX1055" fmla="*/ 5706589 w 9094123"/>
                  <a:gd name="connsiteY1055" fmla="*/ 3826055 h 6849687"/>
                  <a:gd name="connsiteX1056" fmla="*/ 5478488 w 9094123"/>
                  <a:gd name="connsiteY1056" fmla="*/ 3968701 h 6849687"/>
                  <a:gd name="connsiteX1057" fmla="*/ 5427032 w 9094123"/>
                  <a:gd name="connsiteY1057" fmla="*/ 3957728 h 6849687"/>
                  <a:gd name="connsiteX1058" fmla="*/ 5413566 w 9094123"/>
                  <a:gd name="connsiteY1058" fmla="*/ 3971693 h 6849687"/>
                  <a:gd name="connsiteX1059" fmla="*/ 5172247 w 9094123"/>
                  <a:gd name="connsiteY1059" fmla="*/ 3843012 h 6849687"/>
                  <a:gd name="connsiteX1060" fmla="*/ 5153247 w 9094123"/>
                  <a:gd name="connsiteY1060" fmla="*/ 3791880 h 6849687"/>
                  <a:gd name="connsiteX1061" fmla="*/ 5138497 w 9094123"/>
                  <a:gd name="connsiteY1061" fmla="*/ 3788398 h 6849687"/>
                  <a:gd name="connsiteX1062" fmla="*/ 5128855 w 9094123"/>
                  <a:gd name="connsiteY1062" fmla="*/ 3525300 h 6849687"/>
                  <a:gd name="connsiteX1063" fmla="*/ 5174956 w 9094123"/>
                  <a:gd name="connsiteY1063" fmla="*/ 3471915 h 6849687"/>
                  <a:gd name="connsiteX1064" fmla="*/ 5169254 w 9094123"/>
                  <a:gd name="connsiteY1064" fmla="*/ 3452148 h 6849687"/>
                  <a:gd name="connsiteX1065" fmla="*/ 5397272 w 9094123"/>
                  <a:gd name="connsiteY1065" fmla="*/ 3309169 h 6849687"/>
                  <a:gd name="connsiteX1066" fmla="*/ 5440269 w 9094123"/>
                  <a:gd name="connsiteY1066" fmla="*/ 3315750 h 6849687"/>
                  <a:gd name="connsiteX1067" fmla="*/ 5448146 w 9094123"/>
                  <a:gd name="connsiteY1067" fmla="*/ 3307257 h 6849687"/>
                  <a:gd name="connsiteX1068" fmla="*/ 5936187 w 9094123"/>
                  <a:gd name="connsiteY1068" fmla="*/ 1837816 h 6849687"/>
                  <a:gd name="connsiteX1069" fmla="*/ 5960954 w 9094123"/>
                  <a:gd name="connsiteY1069" fmla="*/ 1903861 h 6849687"/>
                  <a:gd name="connsiteX1070" fmla="*/ 5980078 w 9094123"/>
                  <a:gd name="connsiteY1070" fmla="*/ 1908308 h 6849687"/>
                  <a:gd name="connsiteX1071" fmla="*/ 5989305 w 9094123"/>
                  <a:gd name="connsiteY1071" fmla="*/ 2171489 h 6849687"/>
                  <a:gd name="connsiteX1072" fmla="*/ 5956975 w 9094123"/>
                  <a:gd name="connsiteY1072" fmla="*/ 2215570 h 6849687"/>
                  <a:gd name="connsiteX1073" fmla="*/ 5960542 w 9094123"/>
                  <a:gd name="connsiteY1073" fmla="*/ 2226852 h 6849687"/>
                  <a:gd name="connsiteX1074" fmla="*/ 5720887 w 9094123"/>
                  <a:gd name="connsiteY1074" fmla="*/ 2376564 h 6849687"/>
                  <a:gd name="connsiteX1075" fmla="*/ 5674302 w 9094123"/>
                  <a:gd name="connsiteY1075" fmla="*/ 2370152 h 6849687"/>
                  <a:gd name="connsiteX1076" fmla="*/ 5667519 w 9094123"/>
                  <a:gd name="connsiteY1076" fmla="*/ 2377063 h 6849687"/>
                  <a:gd name="connsiteX1077" fmla="*/ 5423540 w 9094123"/>
                  <a:gd name="connsiteY1077" fmla="*/ 2247634 h 6849687"/>
                  <a:gd name="connsiteX1078" fmla="*/ 5399711 w 9094123"/>
                  <a:gd name="connsiteY1078" fmla="*/ 2191083 h 6849687"/>
                  <a:gd name="connsiteX1079" fmla="*/ 5386964 w 9094123"/>
                  <a:gd name="connsiteY1079" fmla="*/ 2188031 h 6849687"/>
                  <a:gd name="connsiteX1080" fmla="*/ 5377073 w 9094123"/>
                  <a:gd name="connsiteY1080" fmla="*/ 1909306 h 6849687"/>
                  <a:gd name="connsiteX1081" fmla="*/ 5386715 w 9094123"/>
                  <a:gd name="connsiteY1081" fmla="*/ 1905648 h 6849687"/>
                  <a:gd name="connsiteX1082" fmla="*/ 5399184 w 9094123"/>
                  <a:gd name="connsiteY1082" fmla="*/ 1866661 h 6849687"/>
                  <a:gd name="connsiteX1083" fmla="*/ 5648566 w 9094123"/>
                  <a:gd name="connsiteY1083" fmla="*/ 1710798 h 6849687"/>
                  <a:gd name="connsiteX1084" fmla="*/ 5689080 w 9094123"/>
                  <a:gd name="connsiteY1084" fmla="*/ 1715564 h 6849687"/>
                  <a:gd name="connsiteX1085" fmla="*/ 5694951 w 9094123"/>
                  <a:gd name="connsiteY1085" fmla="*/ 1709301 h 6849687"/>
                  <a:gd name="connsiteX1086" fmla="*/ 4766669 w 9094123"/>
                  <a:gd name="connsiteY1086" fmla="*/ 1937569 h 6849687"/>
                  <a:gd name="connsiteX1087" fmla="*/ 4797150 w 9094123"/>
                  <a:gd name="connsiteY1087" fmla="*/ 1896801 h 6849687"/>
                  <a:gd name="connsiteX1088" fmla="*/ 4793602 w 9094123"/>
                  <a:gd name="connsiteY1088" fmla="*/ 1885614 h 6849687"/>
                  <a:gd name="connsiteX1089" fmla="*/ 5024446 w 9094123"/>
                  <a:gd name="connsiteY1089" fmla="*/ 1741222 h 6849687"/>
                  <a:gd name="connsiteX1090" fmla="*/ 5085844 w 9094123"/>
                  <a:gd name="connsiteY1090" fmla="*/ 1750342 h 6849687"/>
                  <a:gd name="connsiteX1091" fmla="*/ 5097099 w 9094123"/>
                  <a:gd name="connsiteY1091" fmla="*/ 1738063 h 6849687"/>
                  <a:gd name="connsiteX1092" fmla="*/ 5341744 w 9094123"/>
                  <a:gd name="connsiteY1092" fmla="*/ 1868158 h 6849687"/>
                  <a:gd name="connsiteX1093" fmla="*/ 5359008 w 9094123"/>
                  <a:gd name="connsiteY1093" fmla="*/ 1908466 h 6849687"/>
                  <a:gd name="connsiteX1094" fmla="*/ 5368760 w 9094123"/>
                  <a:gd name="connsiteY1094" fmla="*/ 1910635 h 6849687"/>
                  <a:gd name="connsiteX1095" fmla="*/ 5378569 w 9094123"/>
                  <a:gd name="connsiteY1095" fmla="*/ 2188696 h 6849687"/>
                  <a:gd name="connsiteX1096" fmla="*/ 5360447 w 9094123"/>
                  <a:gd name="connsiteY1096" fmla="*/ 2194515 h 6849687"/>
                  <a:gd name="connsiteX1097" fmla="*/ 5344237 w 9094123"/>
                  <a:gd name="connsiteY1097" fmla="*/ 2252123 h 6849687"/>
                  <a:gd name="connsiteX1098" fmla="*/ 5108239 w 9094123"/>
                  <a:gd name="connsiteY1098" fmla="*/ 2399091 h 6849687"/>
                  <a:gd name="connsiteX1099" fmla="*/ 5064778 w 9094123"/>
                  <a:gd name="connsiteY1099" fmla="*/ 2394232 h 6849687"/>
                  <a:gd name="connsiteX1100" fmla="*/ 5059277 w 9094123"/>
                  <a:gd name="connsiteY1100" fmla="*/ 2399923 h 6849687"/>
                  <a:gd name="connsiteX1101" fmla="*/ 4813303 w 9094123"/>
                  <a:gd name="connsiteY1101" fmla="*/ 2269247 h 6849687"/>
                  <a:gd name="connsiteX1102" fmla="*/ 4790749 w 9094123"/>
                  <a:gd name="connsiteY1102" fmla="*/ 2211923 h 6849687"/>
                  <a:gd name="connsiteX1103" fmla="*/ 4776229 w 9094123"/>
                  <a:gd name="connsiteY1103" fmla="*/ 2208398 h 6849687"/>
                  <a:gd name="connsiteX1104" fmla="*/ 4479464 w 9094123"/>
                  <a:gd name="connsiteY1104" fmla="*/ 2480639 h 6849687"/>
                  <a:gd name="connsiteX1105" fmla="*/ 4495009 w 9094123"/>
                  <a:gd name="connsiteY1105" fmla="*/ 2475402 h 6849687"/>
                  <a:gd name="connsiteX1106" fmla="*/ 4509058 w 9094123"/>
                  <a:gd name="connsiteY1106" fmla="*/ 2423863 h 6849687"/>
                  <a:gd name="connsiteX1107" fmla="*/ 4739154 w 9094123"/>
                  <a:gd name="connsiteY1107" fmla="*/ 2279970 h 6849687"/>
                  <a:gd name="connsiteX1108" fmla="*/ 4800227 w 9094123"/>
                  <a:gd name="connsiteY1108" fmla="*/ 2287060 h 6849687"/>
                  <a:gd name="connsiteX1109" fmla="*/ 4808981 w 9094123"/>
                  <a:gd name="connsiteY1109" fmla="*/ 2277726 h 6849687"/>
                  <a:gd name="connsiteX1110" fmla="*/ 5055038 w 9094123"/>
                  <a:gd name="connsiteY1110" fmla="*/ 2408402 h 6849687"/>
                  <a:gd name="connsiteX1111" fmla="*/ 5073287 w 9094123"/>
                  <a:gd name="connsiteY1111" fmla="*/ 2448144 h 6849687"/>
                  <a:gd name="connsiteX1112" fmla="*/ 5081472 w 9094123"/>
                  <a:gd name="connsiteY1112" fmla="*/ 2449966 h 6849687"/>
                  <a:gd name="connsiteX1113" fmla="*/ 5091364 w 9094123"/>
                  <a:gd name="connsiteY1113" fmla="*/ 2732099 h 6849687"/>
                  <a:gd name="connsiteX1114" fmla="*/ 5074739 w 9094123"/>
                  <a:gd name="connsiteY1114" fmla="*/ 2737336 h 6849687"/>
                  <a:gd name="connsiteX1115" fmla="*/ 5060857 w 9094123"/>
                  <a:gd name="connsiteY1115" fmla="*/ 2789291 h 6849687"/>
                  <a:gd name="connsiteX1116" fmla="*/ 4822447 w 9094123"/>
                  <a:gd name="connsiteY1116" fmla="*/ 2938338 h 6849687"/>
                  <a:gd name="connsiteX1117" fmla="*/ 4779083 w 9094123"/>
                  <a:gd name="connsiteY1117" fmla="*/ 2932679 h 6849687"/>
                  <a:gd name="connsiteX1118" fmla="*/ 4772571 w 9094123"/>
                  <a:gd name="connsiteY1118" fmla="*/ 2939502 h 6849687"/>
                  <a:gd name="connsiteX1119" fmla="*/ 4534162 w 9094123"/>
                  <a:gd name="connsiteY1119" fmla="*/ 2812816 h 6849687"/>
                  <a:gd name="connsiteX1120" fmla="*/ 4505489 w 9094123"/>
                  <a:gd name="connsiteY1120" fmla="*/ 2748371 h 6849687"/>
                  <a:gd name="connsiteX1121" fmla="*/ 4488774 w 9094123"/>
                  <a:gd name="connsiteY1121" fmla="*/ 2745067 h 6849687"/>
                  <a:gd name="connsiteX1122" fmla="*/ 2703367 w 9094123"/>
                  <a:gd name="connsiteY1122" fmla="*/ 2876907 h 6849687"/>
                  <a:gd name="connsiteX1123" fmla="*/ 2676326 w 9094123"/>
                  <a:gd name="connsiteY1123" fmla="*/ 2811761 h 6849687"/>
                  <a:gd name="connsiteX1124" fmla="*/ 2658561 w 9094123"/>
                  <a:gd name="connsiteY1124" fmla="*/ 2807995 h 6849687"/>
                  <a:gd name="connsiteX1125" fmla="*/ 2649334 w 9094123"/>
                  <a:gd name="connsiteY1125" fmla="*/ 2546144 h 6849687"/>
                  <a:gd name="connsiteX1126" fmla="*/ 2669451 w 9094123"/>
                  <a:gd name="connsiteY1126" fmla="*/ 2540158 h 6849687"/>
                  <a:gd name="connsiteX1127" fmla="*/ 2686076 w 9094123"/>
                  <a:gd name="connsiteY1127" fmla="*/ 2482551 h 6849687"/>
                  <a:gd name="connsiteX1128" fmla="*/ 2918001 w 9094123"/>
                  <a:gd name="connsiteY1128" fmla="*/ 2337577 h 6849687"/>
                  <a:gd name="connsiteX1129" fmla="*/ 2964728 w 9094123"/>
                  <a:gd name="connsiteY1129" fmla="*/ 2342856 h 6849687"/>
                  <a:gd name="connsiteX1130" fmla="*/ 2970954 w 9094123"/>
                  <a:gd name="connsiteY1130" fmla="*/ 2336330 h 6849687"/>
                  <a:gd name="connsiteX1131" fmla="*/ 3207118 w 9094123"/>
                  <a:gd name="connsiteY1131" fmla="*/ 2461770 h 6849687"/>
                  <a:gd name="connsiteX1132" fmla="*/ 3233232 w 9094123"/>
                  <a:gd name="connsiteY1132" fmla="*/ 2527293 h 6849687"/>
                  <a:gd name="connsiteX1133" fmla="*/ 3252339 w 9094123"/>
                  <a:gd name="connsiteY1133" fmla="*/ 2531347 h 6849687"/>
                  <a:gd name="connsiteX1134" fmla="*/ 3261899 w 9094123"/>
                  <a:gd name="connsiteY1134" fmla="*/ 2804503 h 6849687"/>
                  <a:gd name="connsiteX1135" fmla="*/ 3253586 w 9094123"/>
                  <a:gd name="connsiteY1135" fmla="*/ 2808078 h 6849687"/>
                  <a:gd name="connsiteX1136" fmla="*/ 3239288 w 9094123"/>
                  <a:gd name="connsiteY1136" fmla="*/ 2847646 h 6849687"/>
                  <a:gd name="connsiteX1137" fmla="*/ 2996141 w 9094123"/>
                  <a:gd name="connsiteY1137" fmla="*/ 2999769 h 6849687"/>
                  <a:gd name="connsiteX1138" fmla="*/ 2947013 w 9094123"/>
                  <a:gd name="connsiteY1138" fmla="*/ 2991872 h 6849687"/>
                  <a:gd name="connsiteX1139" fmla="*/ 2937037 w 9094123"/>
                  <a:gd name="connsiteY1139" fmla="*/ 3000684 h 6849687"/>
                  <a:gd name="connsiteX1140" fmla="*/ 3019250 w 9094123"/>
                  <a:gd name="connsiteY1140" fmla="*/ 3390717 h 6849687"/>
                  <a:gd name="connsiteX1141" fmla="*/ 2996169 w 9094123"/>
                  <a:gd name="connsiteY1141" fmla="*/ 3333476 h 6849687"/>
                  <a:gd name="connsiteX1142" fmla="*/ 2982342 w 9094123"/>
                  <a:gd name="connsiteY1142" fmla="*/ 3330117 h 6849687"/>
                  <a:gd name="connsiteX1143" fmla="*/ 2972948 w 9094123"/>
                  <a:gd name="connsiteY1143" fmla="*/ 3063195 h 6849687"/>
                  <a:gd name="connsiteX1144" fmla="*/ 2985750 w 9094123"/>
                  <a:gd name="connsiteY1144" fmla="*/ 3058457 h 6849687"/>
                  <a:gd name="connsiteX1145" fmla="*/ 2999715 w 9094123"/>
                  <a:gd name="connsiteY1145" fmla="*/ 3006586 h 6849687"/>
                  <a:gd name="connsiteX1146" fmla="*/ 3242031 w 9094123"/>
                  <a:gd name="connsiteY1146" fmla="*/ 2855128 h 6849687"/>
                  <a:gd name="connsiteX1147" fmla="*/ 3286588 w 9094123"/>
                  <a:gd name="connsiteY1147" fmla="*/ 2865103 h 6849687"/>
                  <a:gd name="connsiteX1148" fmla="*/ 3296646 w 9094123"/>
                  <a:gd name="connsiteY1148" fmla="*/ 2855627 h 6849687"/>
                  <a:gd name="connsiteX1149" fmla="*/ 3540957 w 9094123"/>
                  <a:gd name="connsiteY1149" fmla="*/ 2984973 h 6849687"/>
                  <a:gd name="connsiteX1150" fmla="*/ 3560807 w 9094123"/>
                  <a:gd name="connsiteY1150" fmla="*/ 3035780 h 6849687"/>
                  <a:gd name="connsiteX1151" fmla="*/ 3575123 w 9094123"/>
                  <a:gd name="connsiteY1151" fmla="*/ 3039005 h 6849687"/>
                  <a:gd name="connsiteX1152" fmla="*/ 3584848 w 9094123"/>
                  <a:gd name="connsiteY1152" fmla="*/ 3313325 h 6849687"/>
                  <a:gd name="connsiteX1153" fmla="*/ 3571548 w 9094123"/>
                  <a:gd name="connsiteY1153" fmla="*/ 3318147 h 6849687"/>
                  <a:gd name="connsiteX1154" fmla="*/ 3556918 w 9094123"/>
                  <a:gd name="connsiteY1154" fmla="*/ 3368605 h 6849687"/>
                  <a:gd name="connsiteX1155" fmla="*/ 3316514 w 9094123"/>
                  <a:gd name="connsiteY1155" fmla="*/ 3518899 h 6849687"/>
                  <a:gd name="connsiteX1156" fmla="*/ 3269941 w 9094123"/>
                  <a:gd name="connsiteY1156" fmla="*/ 3512404 h 6849687"/>
                  <a:gd name="connsiteX1157" fmla="*/ 3262896 w 9094123"/>
                  <a:gd name="connsiteY1157" fmla="*/ 3519647 h 6849687"/>
                  <a:gd name="connsiteX1158" fmla="*/ 3626661 w 9094123"/>
                  <a:gd name="connsiteY1158" fmla="*/ 3367774 h 6849687"/>
                  <a:gd name="connsiteX1159" fmla="*/ 3607369 w 9094123"/>
                  <a:gd name="connsiteY1159" fmla="*/ 3316626 h 6849687"/>
                  <a:gd name="connsiteX1160" fmla="*/ 3593411 w 9094123"/>
                  <a:gd name="connsiteY1160" fmla="*/ 3313242 h 6849687"/>
                  <a:gd name="connsiteX1161" fmla="*/ 3583768 w 9094123"/>
                  <a:gd name="connsiteY1161" fmla="*/ 3038922 h 6849687"/>
                  <a:gd name="connsiteX1162" fmla="*/ 3596569 w 9094123"/>
                  <a:gd name="connsiteY1162" fmla="*/ 3034184 h 6849687"/>
                  <a:gd name="connsiteX1163" fmla="*/ 3611615 w 9094123"/>
                  <a:gd name="connsiteY1163" fmla="*/ 2984723 h 6849687"/>
                  <a:gd name="connsiteX1164" fmla="*/ 3843873 w 9094123"/>
                  <a:gd name="connsiteY1164" fmla="*/ 2839417 h 6849687"/>
                  <a:gd name="connsiteX1165" fmla="*/ 3901563 w 9094123"/>
                  <a:gd name="connsiteY1165" fmla="*/ 2851221 h 6849687"/>
                  <a:gd name="connsiteX1166" fmla="*/ 3914947 w 9094123"/>
                  <a:gd name="connsiteY1166" fmla="*/ 2838586 h 6849687"/>
                  <a:gd name="connsiteX1167" fmla="*/ 4148534 w 9094123"/>
                  <a:gd name="connsiteY1167" fmla="*/ 2962695 h 6849687"/>
                  <a:gd name="connsiteX1168" fmla="*/ 4168861 w 9094123"/>
                  <a:gd name="connsiteY1168" fmla="*/ 3021219 h 6849687"/>
                  <a:gd name="connsiteX1169" fmla="*/ 4185609 w 9094123"/>
                  <a:gd name="connsiteY1169" fmla="*/ 3025539 h 6849687"/>
                  <a:gd name="connsiteX1170" fmla="*/ 4195252 w 9094123"/>
                  <a:gd name="connsiteY1170" fmla="*/ 3298363 h 6849687"/>
                  <a:gd name="connsiteX1171" fmla="*/ 4169015 w 9094123"/>
                  <a:gd name="connsiteY1171" fmla="*/ 3337386 h 6849687"/>
                  <a:gd name="connsiteX1172" fmla="*/ 4171644 w 9094123"/>
                  <a:gd name="connsiteY1172" fmla="*/ 3345329 h 6849687"/>
                  <a:gd name="connsiteX1173" fmla="*/ 3932902 w 9094123"/>
                  <a:gd name="connsiteY1173" fmla="*/ 3494958 h 6849687"/>
                  <a:gd name="connsiteX1174" fmla="*/ 3881696 w 9094123"/>
                  <a:gd name="connsiteY1174" fmla="*/ 3484318 h 6849687"/>
                  <a:gd name="connsiteX1175" fmla="*/ 3868894 w 9094123"/>
                  <a:gd name="connsiteY1175" fmla="*/ 3496953 h 6849687"/>
                  <a:gd name="connsiteX1176" fmla="*/ 4231662 w 9094123"/>
                  <a:gd name="connsiteY1176" fmla="*/ 3343833 h 6849687"/>
                  <a:gd name="connsiteX1177" fmla="*/ 4214171 w 9094123"/>
                  <a:gd name="connsiteY1177" fmla="*/ 3300183 h 6849687"/>
                  <a:gd name="connsiteX1178" fmla="*/ 4203814 w 9094123"/>
                  <a:gd name="connsiteY1178" fmla="*/ 3297614 h 6849687"/>
                  <a:gd name="connsiteX1179" fmla="*/ 4194171 w 9094123"/>
                  <a:gd name="connsiteY1179" fmla="*/ 3024791 h 6849687"/>
                  <a:gd name="connsiteX1180" fmla="*/ 4210215 w 9094123"/>
                  <a:gd name="connsiteY1180" fmla="*/ 3019138 h 6849687"/>
                  <a:gd name="connsiteX1181" fmla="*/ 4225926 w 9094123"/>
                  <a:gd name="connsiteY1181" fmla="*/ 2960533 h 6849687"/>
                  <a:gd name="connsiteX1182" fmla="*/ 4446379 w 9094123"/>
                  <a:gd name="connsiteY1182" fmla="*/ 2822625 h 6849687"/>
                  <a:gd name="connsiteX1183" fmla="*/ 4512881 w 9094123"/>
                  <a:gd name="connsiteY1183" fmla="*/ 2837338 h 6849687"/>
                  <a:gd name="connsiteX1184" fmla="*/ 4529507 w 9094123"/>
                  <a:gd name="connsiteY1184" fmla="*/ 2820713 h 6849687"/>
                  <a:gd name="connsiteX1185" fmla="*/ 4767999 w 9094123"/>
                  <a:gd name="connsiteY1185" fmla="*/ 2947399 h 6849687"/>
                  <a:gd name="connsiteX1186" fmla="*/ 4787332 w 9094123"/>
                  <a:gd name="connsiteY1186" fmla="*/ 2986495 h 6849687"/>
                  <a:gd name="connsiteX1187" fmla="*/ 4795098 w 9094123"/>
                  <a:gd name="connsiteY1187" fmla="*/ 2988048 h 6849687"/>
                  <a:gd name="connsiteX1188" fmla="*/ 4805406 w 9094123"/>
                  <a:gd name="connsiteY1188" fmla="*/ 3280324 h 6849687"/>
                  <a:gd name="connsiteX1189" fmla="*/ 4793353 w 9094123"/>
                  <a:gd name="connsiteY1189" fmla="*/ 3284480 h 6849687"/>
                  <a:gd name="connsiteX1190" fmla="*/ 4781050 w 9094123"/>
                  <a:gd name="connsiteY1190" fmla="*/ 3323799 h 6849687"/>
                  <a:gd name="connsiteX1191" fmla="*/ 4546631 w 9094123"/>
                  <a:gd name="connsiteY1191" fmla="*/ 3470436 h 6849687"/>
                  <a:gd name="connsiteX1192" fmla="*/ 4490603 w 9094123"/>
                  <a:gd name="connsiteY1192" fmla="*/ 3460793 h 6849687"/>
                  <a:gd name="connsiteX1193" fmla="*/ 4476804 w 9094123"/>
                  <a:gd name="connsiteY1193" fmla="*/ 3474176 h 6849687"/>
                  <a:gd name="connsiteX1194" fmla="*/ 4518035 w 9094123"/>
                  <a:gd name="connsiteY1194" fmla="*/ 3541925 h 6849687"/>
                  <a:gd name="connsiteX1195" fmla="*/ 4557320 w 9094123"/>
                  <a:gd name="connsiteY1195" fmla="*/ 3494782 h 6849687"/>
                  <a:gd name="connsiteX1196" fmla="*/ 4551868 w 9094123"/>
                  <a:gd name="connsiteY1196" fmla="*/ 3477336 h 6849687"/>
                  <a:gd name="connsiteX1197" fmla="*/ 4785954 w 9094123"/>
                  <a:gd name="connsiteY1197" fmla="*/ 3330948 h 6849687"/>
                  <a:gd name="connsiteX1198" fmla="*/ 4825939 w 9094123"/>
                  <a:gd name="connsiteY1198" fmla="*/ 3338014 h 6849687"/>
                  <a:gd name="connsiteX1199" fmla="*/ 4836080 w 9094123"/>
                  <a:gd name="connsiteY1199" fmla="*/ 3327956 h 6849687"/>
                  <a:gd name="connsiteX1200" fmla="*/ 5078895 w 9094123"/>
                  <a:gd name="connsiteY1200" fmla="*/ 3456969 h 6849687"/>
                  <a:gd name="connsiteX1201" fmla="*/ 5107251 w 9094123"/>
                  <a:gd name="connsiteY1201" fmla="*/ 3521554 h 6849687"/>
                  <a:gd name="connsiteX1202" fmla="*/ 5120459 w 9094123"/>
                  <a:gd name="connsiteY1202" fmla="*/ 3524718 h 6849687"/>
                  <a:gd name="connsiteX1203" fmla="*/ 5129769 w 9094123"/>
                  <a:gd name="connsiteY1203" fmla="*/ 3788896 h 6849687"/>
                  <a:gd name="connsiteX1204" fmla="*/ 5116552 w 9094123"/>
                  <a:gd name="connsiteY1204" fmla="*/ 3793718 h 6849687"/>
                  <a:gd name="connsiteX1205" fmla="*/ 5101921 w 9094123"/>
                  <a:gd name="connsiteY1205" fmla="*/ 3844176 h 6849687"/>
                  <a:gd name="connsiteX1206" fmla="*/ 4861517 w 9094123"/>
                  <a:gd name="connsiteY1206" fmla="*/ 3994470 h 6849687"/>
                  <a:gd name="connsiteX1207" fmla="*/ 4822032 w 9094123"/>
                  <a:gd name="connsiteY1207" fmla="*/ 3988152 h 6849687"/>
                  <a:gd name="connsiteX1208" fmla="*/ 4812638 w 9094123"/>
                  <a:gd name="connsiteY1208" fmla="*/ 3996964 h 6849687"/>
                  <a:gd name="connsiteX1209" fmla="*/ 4561428 w 9094123"/>
                  <a:gd name="connsiteY1209" fmla="*/ 3863960 h 6849687"/>
                  <a:gd name="connsiteX1210" fmla="*/ 4542565 w 9094123"/>
                  <a:gd name="connsiteY1210" fmla="*/ 3812652 h 6849687"/>
                  <a:gd name="connsiteX1211" fmla="*/ 4527346 w 9094123"/>
                  <a:gd name="connsiteY1211" fmla="*/ 3809096 h 6849687"/>
                  <a:gd name="connsiteX1212" fmla="*/ 3621591 w 9094123"/>
                  <a:gd name="connsiteY1212" fmla="*/ 4088404 h 6849687"/>
                  <a:gd name="connsiteX1213" fmla="*/ 3633894 w 9094123"/>
                  <a:gd name="connsiteY1213" fmla="*/ 4084164 h 6849687"/>
                  <a:gd name="connsiteX1214" fmla="*/ 3645781 w 9094123"/>
                  <a:gd name="connsiteY1214" fmla="*/ 4044014 h 6849687"/>
                  <a:gd name="connsiteX1215" fmla="*/ 3884688 w 9094123"/>
                  <a:gd name="connsiteY1215" fmla="*/ 3894385 h 6849687"/>
                  <a:gd name="connsiteX1216" fmla="*/ 3934565 w 9094123"/>
                  <a:gd name="connsiteY1216" fmla="*/ 3903446 h 6849687"/>
                  <a:gd name="connsiteX1217" fmla="*/ 3946784 w 9094123"/>
                  <a:gd name="connsiteY1217" fmla="*/ 3891642 h 6849687"/>
                  <a:gd name="connsiteX1218" fmla="*/ 4197330 w 9094123"/>
                  <a:gd name="connsiteY1218" fmla="*/ 4024645 h 6849687"/>
                  <a:gd name="connsiteX1219" fmla="*/ 4215509 w 9094123"/>
                  <a:gd name="connsiteY1219" fmla="*/ 4064421 h 6849687"/>
                  <a:gd name="connsiteX1220" fmla="*/ 4223183 w 9094123"/>
                  <a:gd name="connsiteY1220" fmla="*/ 4066209 h 6849687"/>
                  <a:gd name="connsiteX1221" fmla="*/ 4233241 w 9094123"/>
                  <a:gd name="connsiteY1221" fmla="*/ 4351087 h 6849687"/>
                  <a:gd name="connsiteX1222" fmla="*/ 4220689 w 9094123"/>
                  <a:gd name="connsiteY1222" fmla="*/ 4355742 h 6849687"/>
                  <a:gd name="connsiteX1223" fmla="*/ 4205144 w 9094123"/>
                  <a:gd name="connsiteY1223" fmla="*/ 4404205 h 6849687"/>
                  <a:gd name="connsiteX1224" fmla="*/ 3971972 w 9094123"/>
                  <a:gd name="connsiteY1224" fmla="*/ 4549927 h 6849687"/>
                  <a:gd name="connsiteX1225" fmla="*/ 3915030 w 9094123"/>
                  <a:gd name="connsiteY1225" fmla="*/ 4539120 h 6849687"/>
                  <a:gd name="connsiteX1226" fmla="*/ 3902727 w 9094123"/>
                  <a:gd name="connsiteY1226" fmla="*/ 4550260 h 6849687"/>
                  <a:gd name="connsiteX1227" fmla="*/ 3659995 w 9094123"/>
                  <a:gd name="connsiteY1227" fmla="*/ 4421329 h 6849687"/>
                  <a:gd name="connsiteX1228" fmla="*/ 3642435 w 9094123"/>
                  <a:gd name="connsiteY1228" fmla="*/ 4381149 h 6849687"/>
                  <a:gd name="connsiteX1229" fmla="*/ 3631649 w 9094123"/>
                  <a:gd name="connsiteY1229" fmla="*/ 4379017 h 6849687"/>
                  <a:gd name="connsiteX1230" fmla="*/ 3335134 w 9094123"/>
                  <a:gd name="connsiteY1230" fmla="*/ 4643445 h 6849687"/>
                  <a:gd name="connsiteX1231" fmla="*/ 3376307 w 9094123"/>
                  <a:gd name="connsiteY1231" fmla="*/ 4597625 h 6849687"/>
                  <a:gd name="connsiteX1232" fmla="*/ 3369798 w 9094123"/>
                  <a:gd name="connsiteY1232" fmla="*/ 4576943 h 6849687"/>
                  <a:gd name="connsiteX1233" fmla="*/ 3369798 w 9094123"/>
                  <a:gd name="connsiteY1233" fmla="*/ 4576943 h 6849687"/>
                  <a:gd name="connsiteX1234" fmla="*/ 3606628 w 9094123"/>
                  <a:gd name="connsiteY1234" fmla="*/ 4428810 h 6849687"/>
                  <a:gd name="connsiteX1235" fmla="*/ 3648191 w 9094123"/>
                  <a:gd name="connsiteY1235" fmla="*/ 4437123 h 6849687"/>
                  <a:gd name="connsiteX1236" fmla="*/ 3656504 w 9094123"/>
                  <a:gd name="connsiteY1236" fmla="*/ 4429392 h 6849687"/>
                  <a:gd name="connsiteX1237" fmla="*/ 3898820 w 9094123"/>
                  <a:gd name="connsiteY1237" fmla="*/ 4558156 h 6849687"/>
                  <a:gd name="connsiteX1238" fmla="*/ 3919419 w 9094123"/>
                  <a:gd name="connsiteY1238" fmla="*/ 4616336 h 6849687"/>
                  <a:gd name="connsiteX1239" fmla="*/ 3937640 w 9094123"/>
                  <a:gd name="connsiteY1239" fmla="*/ 4620585 h 6849687"/>
                  <a:gd name="connsiteX1240" fmla="*/ 3946784 w 9094123"/>
                  <a:gd name="connsiteY1240" fmla="*/ 4896900 h 6849687"/>
                  <a:gd name="connsiteX1241" fmla="*/ 3935978 w 9094123"/>
                  <a:gd name="connsiteY1241" fmla="*/ 4900807 h 6849687"/>
                  <a:gd name="connsiteX1242" fmla="*/ 3924174 w 9094123"/>
                  <a:gd name="connsiteY1242" fmla="*/ 4941206 h 6849687"/>
                  <a:gd name="connsiteX1243" fmla="*/ 3677535 w 9094123"/>
                  <a:gd name="connsiteY1243" fmla="*/ 5095491 h 6849687"/>
                  <a:gd name="connsiteX1244" fmla="*/ 3635972 w 9094123"/>
                  <a:gd name="connsiteY1244" fmla="*/ 5089839 h 6849687"/>
                  <a:gd name="connsiteX1245" fmla="*/ 3627659 w 9094123"/>
                  <a:gd name="connsiteY1245" fmla="*/ 5096821 h 6849687"/>
                  <a:gd name="connsiteX1246" fmla="*/ 3381187 w 9094123"/>
                  <a:gd name="connsiteY1246" fmla="*/ 4965896 h 6849687"/>
                  <a:gd name="connsiteX1247" fmla="*/ 3359698 w 9094123"/>
                  <a:gd name="connsiteY1247" fmla="*/ 4907913 h 6849687"/>
                  <a:gd name="connsiteX1248" fmla="*/ 3343364 w 9094123"/>
                  <a:gd name="connsiteY1248" fmla="*/ 4903966 h 6849687"/>
                  <a:gd name="connsiteX1249" fmla="*/ 2438856 w 9094123"/>
                  <a:gd name="connsiteY1249" fmla="*/ 5202559 h 6849687"/>
                  <a:gd name="connsiteX1250" fmla="*/ 2479903 w 9094123"/>
                  <a:gd name="connsiteY1250" fmla="*/ 5156784 h 6849687"/>
                  <a:gd name="connsiteX1251" fmla="*/ 2473935 w 9094123"/>
                  <a:gd name="connsiteY1251" fmla="*/ 5137055 h 6849687"/>
                  <a:gd name="connsiteX1252" fmla="*/ 2692560 w 9094123"/>
                  <a:gd name="connsiteY1252" fmla="*/ 5000310 h 6849687"/>
                  <a:gd name="connsiteX1253" fmla="*/ 2761597 w 9094123"/>
                  <a:gd name="connsiteY1253" fmla="*/ 5014776 h 6849687"/>
                  <a:gd name="connsiteX1254" fmla="*/ 2776851 w 9094123"/>
                  <a:gd name="connsiteY1254" fmla="*/ 4999063 h 6849687"/>
                  <a:gd name="connsiteX1255" fmla="*/ 3013764 w 9094123"/>
                  <a:gd name="connsiteY1255" fmla="*/ 5124918 h 6849687"/>
                  <a:gd name="connsiteX1256" fmla="*/ 3030615 w 9094123"/>
                  <a:gd name="connsiteY1256" fmla="*/ 5168819 h 6849687"/>
                  <a:gd name="connsiteX1257" fmla="*/ 3040282 w 9094123"/>
                  <a:gd name="connsiteY1257" fmla="*/ 5171470 h 6849687"/>
                  <a:gd name="connsiteX1258" fmla="*/ 3049924 w 9094123"/>
                  <a:gd name="connsiteY1258" fmla="*/ 5444709 h 6849687"/>
                  <a:gd name="connsiteX1259" fmla="*/ 3035211 w 9094123"/>
                  <a:gd name="connsiteY1259" fmla="*/ 5450112 h 6849687"/>
                  <a:gd name="connsiteX1260" fmla="*/ 3018586 w 9094123"/>
                  <a:gd name="connsiteY1260" fmla="*/ 5507221 h 6849687"/>
                  <a:gd name="connsiteX1261" fmla="*/ 2791648 w 9094123"/>
                  <a:gd name="connsiteY1261" fmla="*/ 5649119 h 6849687"/>
                  <a:gd name="connsiteX1262" fmla="*/ 2733459 w 9094123"/>
                  <a:gd name="connsiteY1262" fmla="*/ 5636234 h 6849687"/>
                  <a:gd name="connsiteX1263" fmla="*/ 2718995 w 9094123"/>
                  <a:gd name="connsiteY1263" fmla="*/ 5650781 h 6849687"/>
                  <a:gd name="connsiteX1264" fmla="*/ 2474102 w 9094123"/>
                  <a:gd name="connsiteY1264" fmla="*/ 5520355 h 6849687"/>
                  <a:gd name="connsiteX1265" fmla="*/ 2456157 w 9094123"/>
                  <a:gd name="connsiteY1265" fmla="*/ 5480603 h 6849687"/>
                  <a:gd name="connsiteX1266" fmla="*/ 2448582 w 9094123"/>
                  <a:gd name="connsiteY1266" fmla="*/ 5478791 h 6849687"/>
                  <a:gd name="connsiteX1267" fmla="*/ 2104185 w 9094123"/>
                  <a:gd name="connsiteY1267" fmla="*/ 5682619 h 6849687"/>
                  <a:gd name="connsiteX1268" fmla="*/ 2128064 w 9094123"/>
                  <a:gd name="connsiteY1268" fmla="*/ 5739532 h 6849687"/>
                  <a:gd name="connsiteX1269" fmla="*/ 2142341 w 9094123"/>
                  <a:gd name="connsiteY1269" fmla="*/ 5742721 h 6849687"/>
                  <a:gd name="connsiteX1270" fmla="*/ 2149490 w 9094123"/>
                  <a:gd name="connsiteY1270" fmla="*/ 5926099 h 6849687"/>
                  <a:gd name="connsiteX1271" fmla="*/ 2152649 w 9094123"/>
                  <a:gd name="connsiteY1271" fmla="*/ 6015710 h 6849687"/>
                  <a:gd name="connsiteX1272" fmla="*/ 2140429 w 9094123"/>
                  <a:gd name="connsiteY1272" fmla="*/ 6020199 h 6849687"/>
                  <a:gd name="connsiteX1273" fmla="*/ 2126131 w 9094123"/>
                  <a:gd name="connsiteY1273" fmla="*/ 6067332 h 6849687"/>
                  <a:gd name="connsiteX1274" fmla="*/ 1883566 w 9094123"/>
                  <a:gd name="connsiteY1274" fmla="*/ 6220203 h 6849687"/>
                  <a:gd name="connsiteX1275" fmla="*/ 1842667 w 9094123"/>
                  <a:gd name="connsiteY1275" fmla="*/ 6211890 h 6849687"/>
                  <a:gd name="connsiteX1276" fmla="*/ 1833107 w 9094123"/>
                  <a:gd name="connsiteY1276" fmla="*/ 6220868 h 6849687"/>
                  <a:gd name="connsiteX1277" fmla="*/ 1583726 w 9094123"/>
                  <a:gd name="connsiteY1277" fmla="*/ 6089693 h 6849687"/>
                  <a:gd name="connsiteX1278" fmla="*/ 1562617 w 9094123"/>
                  <a:gd name="connsiteY1278" fmla="*/ 6042212 h 6849687"/>
                  <a:gd name="connsiteX1279" fmla="*/ 1551389 w 9094123"/>
                  <a:gd name="connsiteY1279" fmla="*/ 6039817 h 6849687"/>
                  <a:gd name="connsiteX1280" fmla="*/ 1540499 w 9094123"/>
                  <a:gd name="connsiteY1280" fmla="*/ 5753111 h 6849687"/>
                  <a:gd name="connsiteX1281" fmla="*/ 1566084 w 9094123"/>
                  <a:gd name="connsiteY1281" fmla="*/ 5717499 h 6849687"/>
                  <a:gd name="connsiteX1282" fmla="*/ 1563692 w 9094123"/>
                  <a:gd name="connsiteY1282" fmla="*/ 5709635 h 6849687"/>
                  <a:gd name="connsiteX1283" fmla="*/ 1799524 w 9094123"/>
                  <a:gd name="connsiteY1283" fmla="*/ 5561004 h 6849687"/>
                  <a:gd name="connsiteX1284" fmla="*/ 1860351 w 9094123"/>
                  <a:gd name="connsiteY1284" fmla="*/ 5569969 h 6849687"/>
                  <a:gd name="connsiteX1285" fmla="*/ 1870265 w 9094123"/>
                  <a:gd name="connsiteY1285" fmla="*/ 5559674 h 6849687"/>
                  <a:gd name="connsiteX1286" fmla="*/ 642642 w 9094123"/>
                  <a:gd name="connsiteY1286" fmla="*/ 5594005 h 6849687"/>
                  <a:gd name="connsiteX1287" fmla="*/ 640314 w 9094123"/>
                  <a:gd name="connsiteY1287" fmla="*/ 5567155 h 6849687"/>
                  <a:gd name="connsiteX1288" fmla="*/ 616041 w 9094123"/>
                  <a:gd name="connsiteY1288" fmla="*/ 5552192 h 6849687"/>
                  <a:gd name="connsiteX1289" fmla="*/ 605234 w 9094123"/>
                  <a:gd name="connsiteY1289" fmla="*/ 5275960 h 6849687"/>
                  <a:gd name="connsiteX1290" fmla="*/ 623606 w 9094123"/>
                  <a:gd name="connsiteY1290" fmla="*/ 5269975 h 6849687"/>
                  <a:gd name="connsiteX1291" fmla="*/ 638901 w 9094123"/>
                  <a:gd name="connsiteY1291" fmla="*/ 5210539 h 6849687"/>
                  <a:gd name="connsiteX1292" fmla="*/ 872655 w 9094123"/>
                  <a:gd name="connsiteY1292" fmla="*/ 5063155 h 6849687"/>
                  <a:gd name="connsiteX1293" fmla="*/ 919508 w 9094123"/>
                  <a:gd name="connsiteY1293" fmla="*/ 5067153 h 6849687"/>
                  <a:gd name="connsiteX1294" fmla="*/ 924942 w 9094123"/>
                  <a:gd name="connsiteY1294" fmla="*/ 5061326 h 6849687"/>
                  <a:gd name="connsiteX1295" fmla="*/ 1179561 w 9094123"/>
                  <a:gd name="connsiteY1295" fmla="*/ 5195493 h 6849687"/>
                  <a:gd name="connsiteX1296" fmla="*/ 1197200 w 9094123"/>
                  <a:gd name="connsiteY1296" fmla="*/ 5235638 h 6849687"/>
                  <a:gd name="connsiteX1297" fmla="*/ 1207076 w 9094123"/>
                  <a:gd name="connsiteY1297" fmla="*/ 5237721 h 6849687"/>
                  <a:gd name="connsiteX1298" fmla="*/ 1217633 w 9094123"/>
                  <a:gd name="connsiteY1298" fmla="*/ 5509465 h 6849687"/>
                  <a:gd name="connsiteX1299" fmla="*/ 1198098 w 9094123"/>
                  <a:gd name="connsiteY1299" fmla="*/ 5516198 h 6849687"/>
                  <a:gd name="connsiteX1300" fmla="*/ 1179478 w 9094123"/>
                  <a:gd name="connsiteY1300" fmla="*/ 5581786 h 6849687"/>
                  <a:gd name="connsiteX1301" fmla="*/ 959273 w 9094123"/>
                  <a:gd name="connsiteY1301" fmla="*/ 5720608 h 6849687"/>
                  <a:gd name="connsiteX1302" fmla="*/ 901084 w 9094123"/>
                  <a:gd name="connsiteY1302" fmla="*/ 5708389 h 6849687"/>
                  <a:gd name="connsiteX1303" fmla="*/ 886786 w 9094123"/>
                  <a:gd name="connsiteY1303" fmla="*/ 5722604 h 6849687"/>
                  <a:gd name="connsiteX1304" fmla="*/ 930428 w 9094123"/>
                  <a:gd name="connsiteY1304" fmla="*/ 5789188 h 6849687"/>
                  <a:gd name="connsiteX1305" fmla="*/ 946139 w 9094123"/>
                  <a:gd name="connsiteY1305" fmla="*/ 5783536 h 6849687"/>
                  <a:gd name="connsiteX1306" fmla="*/ 963513 w 9094123"/>
                  <a:gd name="connsiteY1306" fmla="*/ 5728173 h 6849687"/>
                  <a:gd name="connsiteX1307" fmla="*/ 1183967 w 9094123"/>
                  <a:gd name="connsiteY1307" fmla="*/ 5589184 h 6849687"/>
                  <a:gd name="connsiteX1308" fmla="*/ 1253898 w 9094123"/>
                  <a:gd name="connsiteY1308" fmla="*/ 5598401 h 6849687"/>
                  <a:gd name="connsiteX1309" fmla="*/ 1265348 w 9094123"/>
                  <a:gd name="connsiteY1309" fmla="*/ 5586025 h 6849687"/>
                  <a:gd name="connsiteX1310" fmla="*/ 1505752 w 9094123"/>
                  <a:gd name="connsiteY1310" fmla="*/ 5712628 h 6849687"/>
                  <a:gd name="connsiteX1311" fmla="*/ 1525106 w 9094123"/>
                  <a:gd name="connsiteY1311" fmla="*/ 5751713 h 6849687"/>
                  <a:gd name="connsiteX1312" fmla="*/ 1531272 w 9094123"/>
                  <a:gd name="connsiteY1312" fmla="*/ 5753111 h 6849687"/>
                  <a:gd name="connsiteX1313" fmla="*/ 1542411 w 9094123"/>
                  <a:gd name="connsiteY1313" fmla="*/ 6041313 h 6849687"/>
                  <a:gd name="connsiteX1314" fmla="*/ 1530607 w 9094123"/>
                  <a:gd name="connsiteY1314" fmla="*/ 6045802 h 6849687"/>
                  <a:gd name="connsiteX1315" fmla="*/ 1515894 w 9094123"/>
                  <a:gd name="connsiteY1315" fmla="*/ 6092104 h 6849687"/>
                  <a:gd name="connsiteX1316" fmla="*/ 1279064 w 9094123"/>
                  <a:gd name="connsiteY1316" fmla="*/ 6241733 h 6849687"/>
                  <a:gd name="connsiteX1317" fmla="*/ 1227656 w 9094123"/>
                  <a:gd name="connsiteY1317" fmla="*/ 6236001 h 6849687"/>
                  <a:gd name="connsiteX1318" fmla="*/ 1220210 w 9094123"/>
                  <a:gd name="connsiteY1318" fmla="*/ 6244061 h 6849687"/>
                  <a:gd name="connsiteX1319" fmla="*/ 979806 w 9094123"/>
                  <a:gd name="connsiteY1319" fmla="*/ 6116876 h 6849687"/>
                  <a:gd name="connsiteX1320" fmla="*/ 958113 w 9094123"/>
                  <a:gd name="connsiteY1320" fmla="*/ 6059095 h 6849687"/>
                  <a:gd name="connsiteX1321" fmla="*/ 940736 w 9094123"/>
                  <a:gd name="connsiteY1321" fmla="*/ 6055196 h 6849687"/>
                  <a:gd name="connsiteX1322" fmla="*/ 34981 w 9094123"/>
                  <a:gd name="connsiteY1322" fmla="*/ 6343813 h 6849687"/>
                  <a:gd name="connsiteX1323" fmla="*/ 46952 w 9094123"/>
                  <a:gd name="connsiteY1323" fmla="*/ 6339657 h 6849687"/>
                  <a:gd name="connsiteX1324" fmla="*/ 58506 w 9094123"/>
                  <a:gd name="connsiteY1324" fmla="*/ 6298592 h 6849687"/>
                  <a:gd name="connsiteX1325" fmla="*/ 297996 w 9094123"/>
                  <a:gd name="connsiteY1325" fmla="*/ 6147633 h 6849687"/>
                  <a:gd name="connsiteX1326" fmla="*/ 346044 w 9094123"/>
                  <a:gd name="connsiteY1326" fmla="*/ 6156777 h 6849687"/>
                  <a:gd name="connsiteX1327" fmla="*/ 358346 w 9094123"/>
                  <a:gd name="connsiteY1327" fmla="*/ 6144391 h 6849687"/>
                  <a:gd name="connsiteX1328" fmla="*/ 598667 w 9094123"/>
                  <a:gd name="connsiteY1328" fmla="*/ 6270994 h 6849687"/>
                  <a:gd name="connsiteX1329" fmla="*/ 601244 w 9094123"/>
                  <a:gd name="connsiteY1329" fmla="*/ 6310646 h 6849687"/>
                  <a:gd name="connsiteX1330" fmla="*/ 636823 w 9094123"/>
                  <a:gd name="connsiteY1330" fmla="*/ 6331843 h 6849687"/>
                  <a:gd name="connsiteX1331" fmla="*/ 647131 w 9094123"/>
                  <a:gd name="connsiteY1331" fmla="*/ 6596520 h 6849687"/>
                  <a:gd name="connsiteX1332" fmla="*/ 630505 w 9094123"/>
                  <a:gd name="connsiteY1332" fmla="*/ 6602339 h 6849687"/>
                  <a:gd name="connsiteX1333" fmla="*/ 614628 w 9094123"/>
                  <a:gd name="connsiteY1333" fmla="*/ 6660529 h 6849687"/>
                  <a:gd name="connsiteX1334" fmla="*/ 379876 w 9094123"/>
                  <a:gd name="connsiteY1334" fmla="*/ 6808827 h 6849687"/>
                  <a:gd name="connsiteX1335" fmla="*/ 338313 w 9094123"/>
                  <a:gd name="connsiteY1335" fmla="*/ 6800515 h 6849687"/>
                  <a:gd name="connsiteX1336" fmla="*/ 328254 w 9094123"/>
                  <a:gd name="connsiteY1336" fmla="*/ 6810407 h 6849687"/>
                  <a:gd name="connsiteX1337" fmla="*/ 85606 w 9094123"/>
                  <a:gd name="connsiteY1337" fmla="*/ 6682557 h 6849687"/>
                  <a:gd name="connsiteX1338" fmla="*/ 83112 w 9094123"/>
                  <a:gd name="connsiteY1338" fmla="*/ 6642406 h 6849687"/>
                  <a:gd name="connsiteX1339" fmla="*/ 45705 w 9094123"/>
                  <a:gd name="connsiteY1339" fmla="*/ 6621292 h 6849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</a:cxnLst>
                <a:rect l="l" t="t" r="r" b="b"/>
                <a:pathLst>
                  <a:path w="9094123" h="6849687">
                    <a:moveTo>
                      <a:pt x="68232" y="6701926"/>
                    </a:moveTo>
                    <a:cubicBezTo>
                      <a:pt x="73553" y="6698698"/>
                      <a:pt x="78140" y="6694395"/>
                      <a:pt x="81699" y="6689290"/>
                    </a:cubicBezTo>
                    <a:lnTo>
                      <a:pt x="325096" y="6817140"/>
                    </a:lnTo>
                    <a:cubicBezTo>
                      <a:pt x="322359" y="6825615"/>
                      <a:pt x="323420" y="6834859"/>
                      <a:pt x="328005" y="6842494"/>
                    </a:cubicBezTo>
                    <a:cubicBezTo>
                      <a:pt x="336797" y="6857242"/>
                      <a:pt x="355880" y="6862071"/>
                      <a:pt x="370629" y="6853279"/>
                    </a:cubicBezTo>
                    <a:cubicBezTo>
                      <a:pt x="370663" y="6853258"/>
                      <a:pt x="370698" y="6853238"/>
                      <a:pt x="370732" y="6853217"/>
                    </a:cubicBezTo>
                    <a:cubicBezTo>
                      <a:pt x="383551" y="6845582"/>
                      <a:pt x="389162" y="6829934"/>
                      <a:pt x="384116" y="6815893"/>
                    </a:cubicBezTo>
                    <a:lnTo>
                      <a:pt x="619366" y="6667511"/>
                    </a:lnTo>
                    <a:cubicBezTo>
                      <a:pt x="633045" y="6684411"/>
                      <a:pt x="657078" y="6688665"/>
                      <a:pt x="675726" y="6677486"/>
                    </a:cubicBezTo>
                    <a:cubicBezTo>
                      <a:pt x="681294" y="6674116"/>
                      <a:pt x="686037" y="6669543"/>
                      <a:pt x="689609" y="6664103"/>
                    </a:cubicBezTo>
                    <a:lnTo>
                      <a:pt x="933255" y="6792202"/>
                    </a:lnTo>
                    <a:cubicBezTo>
                      <a:pt x="926633" y="6810605"/>
                      <a:pt x="936183" y="6830891"/>
                      <a:pt x="954586" y="6837512"/>
                    </a:cubicBezTo>
                    <a:cubicBezTo>
                      <a:pt x="972989" y="6844134"/>
                      <a:pt x="993275" y="6834583"/>
                      <a:pt x="999896" y="6816181"/>
                    </a:cubicBezTo>
                    <a:cubicBezTo>
                      <a:pt x="1003150" y="6807139"/>
                      <a:pt x="1002589" y="6797164"/>
                      <a:pt x="998343" y="6788544"/>
                    </a:cubicBezTo>
                    <a:lnTo>
                      <a:pt x="1228273" y="6643570"/>
                    </a:lnTo>
                    <a:cubicBezTo>
                      <a:pt x="1243278" y="6662492"/>
                      <a:pt x="1270781" y="6665666"/>
                      <a:pt x="1289702" y="6650661"/>
                    </a:cubicBezTo>
                    <a:cubicBezTo>
                      <a:pt x="1308623" y="6635656"/>
                      <a:pt x="1311798" y="6608154"/>
                      <a:pt x="1296793" y="6589233"/>
                    </a:cubicBezTo>
                    <a:cubicBezTo>
                      <a:pt x="1289291" y="6579773"/>
                      <a:pt x="1278211" y="6573835"/>
                      <a:pt x="1266179" y="6572828"/>
                    </a:cubicBezTo>
                    <a:lnTo>
                      <a:pt x="1255622" y="6300670"/>
                    </a:lnTo>
                    <a:cubicBezTo>
                      <a:pt x="1275686" y="6297959"/>
                      <a:pt x="1289753" y="6279495"/>
                      <a:pt x="1287041" y="6259431"/>
                    </a:cubicBezTo>
                    <a:cubicBezTo>
                      <a:pt x="1286506" y="6255473"/>
                      <a:pt x="1285328" y="6251628"/>
                      <a:pt x="1283553" y="6248051"/>
                    </a:cubicBezTo>
                    <a:lnTo>
                      <a:pt x="1520133" y="6098920"/>
                    </a:lnTo>
                    <a:cubicBezTo>
                      <a:pt x="1531942" y="6115196"/>
                      <a:pt x="1554709" y="6118817"/>
                      <a:pt x="1570985" y="6107009"/>
                    </a:cubicBezTo>
                    <a:cubicBezTo>
                      <a:pt x="1574692" y="6104319"/>
                      <a:pt x="1577858" y="6100955"/>
                      <a:pt x="1580317" y="6097092"/>
                    </a:cubicBezTo>
                    <a:lnTo>
                      <a:pt x="1829699" y="6228349"/>
                    </a:lnTo>
                    <a:cubicBezTo>
                      <a:pt x="1823954" y="6244530"/>
                      <a:pt x="1832414" y="6262305"/>
                      <a:pt x="1848595" y="6268049"/>
                    </a:cubicBezTo>
                    <a:cubicBezTo>
                      <a:pt x="1864776" y="6273794"/>
                      <a:pt x="1882550" y="6265335"/>
                      <a:pt x="1888295" y="6249154"/>
                    </a:cubicBezTo>
                    <a:cubicBezTo>
                      <a:pt x="1890817" y="6242051"/>
                      <a:pt x="1890672" y="6234273"/>
                      <a:pt x="1887888" y="6227269"/>
                    </a:cubicBezTo>
                    <a:lnTo>
                      <a:pt x="2130703" y="6074232"/>
                    </a:lnTo>
                    <a:cubicBezTo>
                      <a:pt x="2142097" y="6088890"/>
                      <a:pt x="2162622" y="6092774"/>
                      <a:pt x="2178584" y="6083293"/>
                    </a:cubicBezTo>
                    <a:cubicBezTo>
                      <a:pt x="2183310" y="6080377"/>
                      <a:pt x="2187339" y="6076461"/>
                      <a:pt x="2190388" y="6071821"/>
                    </a:cubicBezTo>
                    <a:lnTo>
                      <a:pt x="2442597" y="6205822"/>
                    </a:lnTo>
                    <a:cubicBezTo>
                      <a:pt x="2436144" y="6221585"/>
                      <a:pt x="2443692" y="6239595"/>
                      <a:pt x="2459456" y="6246047"/>
                    </a:cubicBezTo>
                    <a:cubicBezTo>
                      <a:pt x="2462042" y="6247105"/>
                      <a:pt x="2464760" y="6247807"/>
                      <a:pt x="2467535" y="6248134"/>
                    </a:cubicBezTo>
                    <a:lnTo>
                      <a:pt x="2477510" y="6529270"/>
                    </a:lnTo>
                    <a:cubicBezTo>
                      <a:pt x="2457394" y="6532564"/>
                      <a:pt x="2443757" y="6551542"/>
                      <a:pt x="2447050" y="6571657"/>
                    </a:cubicBezTo>
                    <a:cubicBezTo>
                      <a:pt x="2450344" y="6591773"/>
                      <a:pt x="2469322" y="6605411"/>
                      <a:pt x="2489438" y="6602117"/>
                    </a:cubicBezTo>
                    <a:cubicBezTo>
                      <a:pt x="2494037" y="6601364"/>
                      <a:pt x="2498451" y="6599747"/>
                      <a:pt x="2502448" y="6597351"/>
                    </a:cubicBezTo>
                    <a:cubicBezTo>
                      <a:pt x="2506671" y="6594769"/>
                      <a:pt x="2510343" y="6591379"/>
                      <a:pt x="2513255" y="6587376"/>
                    </a:cubicBezTo>
                    <a:lnTo>
                      <a:pt x="2754823" y="6715725"/>
                    </a:lnTo>
                    <a:cubicBezTo>
                      <a:pt x="2746237" y="6738246"/>
                      <a:pt x="2757534" y="6763464"/>
                      <a:pt x="2780055" y="6772050"/>
                    </a:cubicBezTo>
                    <a:cubicBezTo>
                      <a:pt x="2802577" y="6780636"/>
                      <a:pt x="2827794" y="6769339"/>
                      <a:pt x="2836380" y="6746817"/>
                    </a:cubicBezTo>
                    <a:cubicBezTo>
                      <a:pt x="2840689" y="6735514"/>
                      <a:pt x="2840114" y="6722929"/>
                      <a:pt x="2834791" y="6712067"/>
                    </a:cubicBezTo>
                    <a:lnTo>
                      <a:pt x="3064472" y="6568507"/>
                    </a:lnTo>
                    <a:cubicBezTo>
                      <a:pt x="3075543" y="6584263"/>
                      <a:pt x="3096885" y="6588828"/>
                      <a:pt x="3113434" y="6578981"/>
                    </a:cubicBezTo>
                    <a:cubicBezTo>
                      <a:pt x="3118127" y="6576123"/>
                      <a:pt x="3122130" y="6572262"/>
                      <a:pt x="3125155" y="6567675"/>
                    </a:cubicBezTo>
                    <a:lnTo>
                      <a:pt x="3364561" y="6694860"/>
                    </a:lnTo>
                    <a:cubicBezTo>
                      <a:pt x="3356280" y="6717495"/>
                      <a:pt x="3367916" y="6742558"/>
                      <a:pt x="3390551" y="6750840"/>
                    </a:cubicBezTo>
                    <a:cubicBezTo>
                      <a:pt x="3413186" y="6759121"/>
                      <a:pt x="3438249" y="6747485"/>
                      <a:pt x="3446531" y="6724850"/>
                    </a:cubicBezTo>
                    <a:cubicBezTo>
                      <a:pt x="3450489" y="6714031"/>
                      <a:pt x="3450009" y="6702085"/>
                      <a:pt x="3445195" y="6691618"/>
                    </a:cubicBezTo>
                    <a:lnTo>
                      <a:pt x="3681442" y="6543901"/>
                    </a:lnTo>
                    <a:cubicBezTo>
                      <a:pt x="3692260" y="6557235"/>
                      <a:pt x="3711839" y="6559275"/>
                      <a:pt x="3725173" y="6548458"/>
                    </a:cubicBezTo>
                    <a:cubicBezTo>
                      <a:pt x="3738507" y="6537640"/>
                      <a:pt x="3740548" y="6518062"/>
                      <a:pt x="3729730" y="6504727"/>
                    </a:cubicBezTo>
                    <a:cubicBezTo>
                      <a:pt x="3724222" y="6497937"/>
                      <a:pt x="3716108" y="6493780"/>
                      <a:pt x="3707378" y="6493276"/>
                    </a:cubicBezTo>
                    <a:lnTo>
                      <a:pt x="3697652" y="6216795"/>
                    </a:lnTo>
                    <a:cubicBezTo>
                      <a:pt x="3704406" y="6216325"/>
                      <a:pt x="3710955" y="6214274"/>
                      <a:pt x="3716771" y="6210810"/>
                    </a:cubicBezTo>
                    <a:cubicBezTo>
                      <a:pt x="3737067" y="6198577"/>
                      <a:pt x="3743924" y="6172403"/>
                      <a:pt x="3732233" y="6151790"/>
                    </a:cubicBezTo>
                    <a:lnTo>
                      <a:pt x="3961914" y="6008229"/>
                    </a:lnTo>
                    <a:cubicBezTo>
                      <a:pt x="3973050" y="6023810"/>
                      <a:pt x="3994287" y="6028223"/>
                      <a:pt x="4010709" y="6018370"/>
                    </a:cubicBezTo>
                    <a:cubicBezTo>
                      <a:pt x="4015122" y="6015706"/>
                      <a:pt x="4018919" y="6012136"/>
                      <a:pt x="4021848" y="6007896"/>
                    </a:cubicBezTo>
                    <a:lnTo>
                      <a:pt x="4264996" y="6137076"/>
                    </a:lnTo>
                    <a:cubicBezTo>
                      <a:pt x="4258581" y="6156327"/>
                      <a:pt x="4268988" y="6177134"/>
                      <a:pt x="4288240" y="6183548"/>
                    </a:cubicBezTo>
                    <a:cubicBezTo>
                      <a:pt x="4307492" y="6189962"/>
                      <a:pt x="4328298" y="6179556"/>
                      <a:pt x="4334712" y="6160304"/>
                    </a:cubicBezTo>
                    <a:cubicBezTo>
                      <a:pt x="4337377" y="6152307"/>
                      <a:pt x="4337211" y="6143636"/>
                      <a:pt x="4334241" y="6135746"/>
                    </a:cubicBezTo>
                    <a:lnTo>
                      <a:pt x="4576391" y="5984288"/>
                    </a:lnTo>
                    <a:cubicBezTo>
                      <a:pt x="4586425" y="5994749"/>
                      <a:pt x="4602358" y="5996887"/>
                      <a:pt x="4614795" y="5989442"/>
                    </a:cubicBezTo>
                    <a:cubicBezTo>
                      <a:pt x="4617968" y="5987468"/>
                      <a:pt x="4620780" y="5984966"/>
                      <a:pt x="4623108" y="5982043"/>
                    </a:cubicBezTo>
                    <a:lnTo>
                      <a:pt x="4876231" y="6116543"/>
                    </a:lnTo>
                    <a:cubicBezTo>
                      <a:pt x="4869473" y="6135677"/>
                      <a:pt x="4879506" y="6156666"/>
                      <a:pt x="4898640" y="6163424"/>
                    </a:cubicBezTo>
                    <a:cubicBezTo>
                      <a:pt x="4917774" y="6170182"/>
                      <a:pt x="4938763" y="6160148"/>
                      <a:pt x="4945521" y="6141015"/>
                    </a:cubicBezTo>
                    <a:cubicBezTo>
                      <a:pt x="4948593" y="6132315"/>
                      <a:pt x="4948280" y="6122778"/>
                      <a:pt x="4944644" y="6114299"/>
                    </a:cubicBezTo>
                    <a:lnTo>
                      <a:pt x="5184966" y="5964005"/>
                    </a:lnTo>
                    <a:cubicBezTo>
                      <a:pt x="5195990" y="5978287"/>
                      <a:pt x="5216506" y="5980928"/>
                      <a:pt x="5230789" y="5969903"/>
                    </a:cubicBezTo>
                    <a:cubicBezTo>
                      <a:pt x="5245071" y="5958879"/>
                      <a:pt x="5247712" y="5938363"/>
                      <a:pt x="5236687" y="5924080"/>
                    </a:cubicBezTo>
                    <a:cubicBezTo>
                      <a:pt x="5231033" y="5916756"/>
                      <a:pt x="5222538" y="5912172"/>
                      <a:pt x="5213312" y="5911468"/>
                    </a:cubicBezTo>
                    <a:lnTo>
                      <a:pt x="5203420" y="5631745"/>
                    </a:lnTo>
                    <a:cubicBezTo>
                      <a:pt x="5208002" y="5630951"/>
                      <a:pt x="5212399" y="5629317"/>
                      <a:pt x="5216387" y="5626924"/>
                    </a:cubicBezTo>
                    <a:cubicBezTo>
                      <a:pt x="5234752" y="5615905"/>
                      <a:pt x="5240706" y="5592086"/>
                      <a:pt x="5229688" y="5573722"/>
                    </a:cubicBezTo>
                    <a:cubicBezTo>
                      <a:pt x="5218669" y="5555358"/>
                      <a:pt x="5194850" y="5549403"/>
                      <a:pt x="5176486" y="5560422"/>
                    </a:cubicBezTo>
                    <a:cubicBezTo>
                      <a:pt x="5172616" y="5562779"/>
                      <a:pt x="5169208" y="5565821"/>
                      <a:pt x="5166427" y="5569400"/>
                    </a:cubicBezTo>
                    <a:lnTo>
                      <a:pt x="4914054" y="5435565"/>
                    </a:lnTo>
                    <a:cubicBezTo>
                      <a:pt x="4920322" y="5419579"/>
                      <a:pt x="4912444" y="5401539"/>
                      <a:pt x="4896459" y="5395271"/>
                    </a:cubicBezTo>
                    <a:cubicBezTo>
                      <a:pt x="4887471" y="5391746"/>
                      <a:pt x="4877355" y="5392598"/>
                      <a:pt x="4869082" y="5397575"/>
                    </a:cubicBezTo>
                    <a:cubicBezTo>
                      <a:pt x="4855035" y="5405978"/>
                      <a:pt x="4849969" y="5423872"/>
                      <a:pt x="4857527" y="5438391"/>
                    </a:cubicBezTo>
                    <a:lnTo>
                      <a:pt x="4622526" y="5585360"/>
                    </a:lnTo>
                    <a:cubicBezTo>
                      <a:pt x="4608919" y="5565633"/>
                      <a:pt x="4581897" y="5560671"/>
                      <a:pt x="4562169" y="5574278"/>
                    </a:cubicBezTo>
                    <a:cubicBezTo>
                      <a:pt x="4557174" y="5577723"/>
                      <a:pt x="4552957" y="5582178"/>
                      <a:pt x="4549790" y="5587355"/>
                    </a:cubicBezTo>
                    <a:lnTo>
                      <a:pt x="4306144" y="5457843"/>
                    </a:lnTo>
                    <a:cubicBezTo>
                      <a:pt x="4311059" y="5441391"/>
                      <a:pt x="4301707" y="5424070"/>
                      <a:pt x="4285256" y="5419154"/>
                    </a:cubicBezTo>
                    <a:cubicBezTo>
                      <a:pt x="4268804" y="5414238"/>
                      <a:pt x="4251483" y="5423590"/>
                      <a:pt x="4246567" y="5440042"/>
                    </a:cubicBezTo>
                    <a:cubicBezTo>
                      <a:pt x="4244635" y="5446508"/>
                      <a:pt x="4244860" y="5453427"/>
                      <a:pt x="4247207" y="5459754"/>
                    </a:cubicBezTo>
                    <a:lnTo>
                      <a:pt x="3998905" y="5614953"/>
                    </a:lnTo>
                    <a:cubicBezTo>
                      <a:pt x="3988857" y="5604225"/>
                      <a:pt x="3972681" y="5601973"/>
                      <a:pt x="3960085" y="5609550"/>
                    </a:cubicBezTo>
                    <a:cubicBezTo>
                      <a:pt x="3957421" y="5611184"/>
                      <a:pt x="3955036" y="5613232"/>
                      <a:pt x="3953019" y="5615618"/>
                    </a:cubicBezTo>
                    <a:lnTo>
                      <a:pt x="3695324" y="5478708"/>
                    </a:lnTo>
                    <a:cubicBezTo>
                      <a:pt x="3698832" y="5469733"/>
                      <a:pt x="3698004" y="5459642"/>
                      <a:pt x="3693080" y="5451359"/>
                    </a:cubicBezTo>
                    <a:cubicBezTo>
                      <a:pt x="3687973" y="5442862"/>
                      <a:pt x="3679101" y="5437328"/>
                      <a:pt x="3669223" y="5436479"/>
                    </a:cubicBezTo>
                    <a:lnTo>
                      <a:pt x="3659330" y="5150771"/>
                    </a:lnTo>
                    <a:cubicBezTo>
                      <a:pt x="3663301" y="5150109"/>
                      <a:pt x="3667109" y="5148698"/>
                      <a:pt x="3670553" y="5146614"/>
                    </a:cubicBezTo>
                    <a:cubicBezTo>
                      <a:pt x="3685843" y="5137369"/>
                      <a:pt x="3691093" y="5117692"/>
                      <a:pt x="3682440" y="5102058"/>
                    </a:cubicBezTo>
                    <a:lnTo>
                      <a:pt x="3928829" y="4948023"/>
                    </a:lnTo>
                    <a:cubicBezTo>
                      <a:pt x="3940207" y="4960883"/>
                      <a:pt x="3959855" y="4962085"/>
                      <a:pt x="3972715" y="4950707"/>
                    </a:cubicBezTo>
                    <a:cubicBezTo>
                      <a:pt x="3985574" y="4939329"/>
                      <a:pt x="3986775" y="4919681"/>
                      <a:pt x="3975398" y="4906822"/>
                    </a:cubicBezTo>
                    <a:cubicBezTo>
                      <a:pt x="3970203" y="4900950"/>
                      <a:pt x="3962982" y="4897258"/>
                      <a:pt x="3955181" y="4896484"/>
                    </a:cubicBezTo>
                    <a:lnTo>
                      <a:pt x="3945455" y="4620419"/>
                    </a:lnTo>
                    <a:cubicBezTo>
                      <a:pt x="3950740" y="4619583"/>
                      <a:pt x="3955818" y="4617750"/>
                      <a:pt x="3960417" y="4615015"/>
                    </a:cubicBezTo>
                    <a:cubicBezTo>
                      <a:pt x="3980174" y="4603278"/>
                      <a:pt x="3987445" y="4578231"/>
                      <a:pt x="3977043" y="4557740"/>
                    </a:cubicBezTo>
                    <a:lnTo>
                      <a:pt x="4209799" y="4412185"/>
                    </a:lnTo>
                    <a:cubicBezTo>
                      <a:pt x="4222003" y="4429589"/>
                      <a:pt x="4246005" y="4433805"/>
                      <a:pt x="4263409" y="4421602"/>
                    </a:cubicBezTo>
                    <a:cubicBezTo>
                      <a:pt x="4267265" y="4418897"/>
                      <a:pt x="4270593" y="4415509"/>
                      <a:pt x="4273225" y="4411603"/>
                    </a:cubicBezTo>
                    <a:lnTo>
                      <a:pt x="4520113" y="4542778"/>
                    </a:lnTo>
                    <a:cubicBezTo>
                      <a:pt x="4514079" y="4558853"/>
                      <a:pt x="4522218" y="4576776"/>
                      <a:pt x="4538293" y="4582810"/>
                    </a:cubicBezTo>
                    <a:cubicBezTo>
                      <a:pt x="4541313" y="4583944"/>
                      <a:pt x="4544490" y="4584600"/>
                      <a:pt x="4547712" y="4584757"/>
                    </a:cubicBezTo>
                    <a:lnTo>
                      <a:pt x="4557936" y="4875037"/>
                    </a:lnTo>
                    <a:cubicBezTo>
                      <a:pt x="4554756" y="4875733"/>
                      <a:pt x="4551700" y="4876910"/>
                      <a:pt x="4548876" y="4878529"/>
                    </a:cubicBezTo>
                    <a:cubicBezTo>
                      <a:pt x="4534203" y="4887535"/>
                      <a:pt x="4529610" y="4906731"/>
                      <a:pt x="4538617" y="4921403"/>
                    </a:cubicBezTo>
                    <a:cubicBezTo>
                      <a:pt x="4547498" y="4935871"/>
                      <a:pt x="4566322" y="4940573"/>
                      <a:pt x="4580963" y="4931979"/>
                    </a:cubicBezTo>
                    <a:cubicBezTo>
                      <a:pt x="4583950" y="4930188"/>
                      <a:pt x="4586596" y="4927880"/>
                      <a:pt x="4588777" y="4925163"/>
                    </a:cubicBezTo>
                    <a:lnTo>
                      <a:pt x="4832589" y="5054842"/>
                    </a:lnTo>
                    <a:cubicBezTo>
                      <a:pt x="4824157" y="5077421"/>
                      <a:pt x="4835625" y="5102561"/>
                      <a:pt x="4858204" y="5110994"/>
                    </a:cubicBezTo>
                    <a:cubicBezTo>
                      <a:pt x="4880784" y="5119426"/>
                      <a:pt x="4905924" y="5107958"/>
                      <a:pt x="4914356" y="5085378"/>
                    </a:cubicBezTo>
                    <a:cubicBezTo>
                      <a:pt x="4918293" y="5074837"/>
                      <a:pt x="4918006" y="5063181"/>
                      <a:pt x="4913555" y="5052846"/>
                    </a:cubicBezTo>
                    <a:lnTo>
                      <a:pt x="5148971" y="4905628"/>
                    </a:lnTo>
                    <a:cubicBezTo>
                      <a:pt x="5159817" y="4918939"/>
                      <a:pt x="5179401" y="4920938"/>
                      <a:pt x="5192712" y="4910091"/>
                    </a:cubicBezTo>
                    <a:cubicBezTo>
                      <a:pt x="5204817" y="4900227"/>
                      <a:pt x="5207728" y="4882914"/>
                      <a:pt x="5199513" y="4869634"/>
                    </a:cubicBezTo>
                    <a:cubicBezTo>
                      <a:pt x="5194565" y="4861433"/>
                      <a:pt x="5186087" y="4855996"/>
                      <a:pt x="5176570" y="4854920"/>
                    </a:cubicBezTo>
                    <a:lnTo>
                      <a:pt x="5166594" y="4571291"/>
                    </a:lnTo>
                    <a:cubicBezTo>
                      <a:pt x="5171641" y="4570530"/>
                      <a:pt x="5176495" y="4568809"/>
                      <a:pt x="5180892" y="4566220"/>
                    </a:cubicBezTo>
                    <a:cubicBezTo>
                      <a:pt x="5198734" y="4554331"/>
                      <a:pt x="5203559" y="4530230"/>
                      <a:pt x="5191670" y="4512388"/>
                    </a:cubicBezTo>
                    <a:cubicBezTo>
                      <a:pt x="5180570" y="4495730"/>
                      <a:pt x="5158624" y="4490244"/>
                      <a:pt x="5140991" y="4499718"/>
                    </a:cubicBezTo>
                    <a:cubicBezTo>
                      <a:pt x="5136238" y="4502622"/>
                      <a:pt x="5132157" y="4506504"/>
                      <a:pt x="5129021" y="4511107"/>
                    </a:cubicBezTo>
                    <a:lnTo>
                      <a:pt x="4889614" y="4384005"/>
                    </a:lnTo>
                    <a:cubicBezTo>
                      <a:pt x="4899784" y="4362102"/>
                      <a:pt x="4890271" y="4336102"/>
                      <a:pt x="4868369" y="4325933"/>
                    </a:cubicBezTo>
                    <a:cubicBezTo>
                      <a:pt x="4863186" y="4323527"/>
                      <a:pt x="4857582" y="4322159"/>
                      <a:pt x="4851874" y="4321909"/>
                    </a:cubicBezTo>
                    <a:lnTo>
                      <a:pt x="4842149" y="4045843"/>
                    </a:lnTo>
                    <a:cubicBezTo>
                      <a:pt x="4859040" y="4043651"/>
                      <a:pt x="4870955" y="4028181"/>
                      <a:pt x="4868764" y="4011291"/>
                    </a:cubicBezTo>
                    <a:cubicBezTo>
                      <a:pt x="4868327" y="4007928"/>
                      <a:pt x="4867339" y="4004660"/>
                      <a:pt x="4865840" y="4001619"/>
                    </a:cubicBezTo>
                    <a:lnTo>
                      <a:pt x="5106244" y="3851242"/>
                    </a:lnTo>
                    <a:cubicBezTo>
                      <a:pt x="5118268" y="3866293"/>
                      <a:pt x="5139539" y="3870192"/>
                      <a:pt x="5156120" y="3860386"/>
                    </a:cubicBezTo>
                    <a:cubicBezTo>
                      <a:pt x="5160511" y="3857767"/>
                      <a:pt x="5164328" y="3854290"/>
                      <a:pt x="5167342" y="3850161"/>
                    </a:cubicBezTo>
                    <a:lnTo>
                      <a:pt x="5410407" y="3979341"/>
                    </a:lnTo>
                    <a:cubicBezTo>
                      <a:pt x="5403907" y="3999675"/>
                      <a:pt x="5415122" y="4021429"/>
                      <a:pt x="5435456" y="4027929"/>
                    </a:cubicBezTo>
                    <a:cubicBezTo>
                      <a:pt x="5455790" y="4034429"/>
                      <a:pt x="5477544" y="4023214"/>
                      <a:pt x="5484044" y="4002880"/>
                    </a:cubicBezTo>
                    <a:cubicBezTo>
                      <a:pt x="5486862" y="3994066"/>
                      <a:pt x="5486424" y="3984534"/>
                      <a:pt x="5482810" y="3976016"/>
                    </a:cubicBezTo>
                    <a:lnTo>
                      <a:pt x="5711743" y="3832871"/>
                    </a:lnTo>
                    <a:cubicBezTo>
                      <a:pt x="5725286" y="3850273"/>
                      <a:pt x="5749683" y="3854838"/>
                      <a:pt x="5768602" y="3843511"/>
                    </a:cubicBezTo>
                    <a:cubicBezTo>
                      <a:pt x="5773913" y="3840337"/>
                      <a:pt x="5778478" y="3836056"/>
                      <a:pt x="5781986" y="3830959"/>
                    </a:cubicBezTo>
                    <a:lnTo>
                      <a:pt x="6028458" y="3962134"/>
                    </a:lnTo>
                    <a:cubicBezTo>
                      <a:pt x="6023097" y="3978301"/>
                      <a:pt x="6031858" y="3995752"/>
                      <a:pt x="6048025" y="4001113"/>
                    </a:cubicBezTo>
                    <a:cubicBezTo>
                      <a:pt x="6049961" y="4001755"/>
                      <a:pt x="6051955" y="4002203"/>
                      <a:pt x="6053978" y="4002451"/>
                    </a:cubicBezTo>
                    <a:lnTo>
                      <a:pt x="6063787" y="4282257"/>
                    </a:lnTo>
                    <a:cubicBezTo>
                      <a:pt x="6058601" y="4283171"/>
                      <a:pt x="6053619" y="4285001"/>
                      <a:pt x="6049073" y="4287660"/>
                    </a:cubicBezTo>
                    <a:cubicBezTo>
                      <a:pt x="6027412" y="4298439"/>
                      <a:pt x="6018590" y="4324736"/>
                      <a:pt x="6029369" y="4346397"/>
                    </a:cubicBezTo>
                    <a:cubicBezTo>
                      <a:pt x="6040148" y="4368059"/>
                      <a:pt x="6066445" y="4376880"/>
                      <a:pt x="6088106" y="4366102"/>
                    </a:cubicBezTo>
                    <a:cubicBezTo>
                      <a:pt x="6090208" y="4365056"/>
                      <a:pt x="6092221" y="4363843"/>
                      <a:pt x="6094129" y="4362475"/>
                    </a:cubicBezTo>
                    <a:cubicBezTo>
                      <a:pt x="6099465" y="4359264"/>
                      <a:pt x="6104033" y="4354922"/>
                      <a:pt x="6107512" y="4349756"/>
                    </a:cubicBezTo>
                    <a:lnTo>
                      <a:pt x="6345172" y="4476110"/>
                    </a:lnTo>
                    <a:cubicBezTo>
                      <a:pt x="6338397" y="4496354"/>
                      <a:pt x="6349316" y="4518258"/>
                      <a:pt x="6369560" y="4525034"/>
                    </a:cubicBezTo>
                    <a:cubicBezTo>
                      <a:pt x="6389804" y="4531809"/>
                      <a:pt x="6411708" y="4520891"/>
                      <a:pt x="6418484" y="4500647"/>
                    </a:cubicBezTo>
                    <a:cubicBezTo>
                      <a:pt x="6421547" y="4491493"/>
                      <a:pt x="6421075" y="4481525"/>
                      <a:pt x="6417160" y="4472702"/>
                    </a:cubicBezTo>
                    <a:lnTo>
                      <a:pt x="6649917" y="4327229"/>
                    </a:lnTo>
                    <a:cubicBezTo>
                      <a:pt x="6663352" y="4343878"/>
                      <a:pt x="6687741" y="4346483"/>
                      <a:pt x="6704390" y="4333048"/>
                    </a:cubicBezTo>
                    <a:cubicBezTo>
                      <a:pt x="6707129" y="4330837"/>
                      <a:pt x="6709554" y="4328265"/>
                      <a:pt x="6711598" y="4325399"/>
                    </a:cubicBezTo>
                    <a:lnTo>
                      <a:pt x="6964138" y="4459568"/>
                    </a:lnTo>
                    <a:cubicBezTo>
                      <a:pt x="6959671" y="4475766"/>
                      <a:pt x="6969182" y="4492519"/>
                      <a:pt x="6985381" y="4496985"/>
                    </a:cubicBezTo>
                    <a:cubicBezTo>
                      <a:pt x="7001579" y="4501452"/>
                      <a:pt x="7018332" y="4491941"/>
                      <a:pt x="7022798" y="4475742"/>
                    </a:cubicBezTo>
                    <a:cubicBezTo>
                      <a:pt x="7024675" y="4468937"/>
                      <a:pt x="7024127" y="4461690"/>
                      <a:pt x="7021247" y="4455245"/>
                    </a:cubicBezTo>
                    <a:lnTo>
                      <a:pt x="7259572" y="4306696"/>
                    </a:lnTo>
                    <a:cubicBezTo>
                      <a:pt x="7273795" y="4322678"/>
                      <a:pt x="7298281" y="4324104"/>
                      <a:pt x="7314263" y="4309881"/>
                    </a:cubicBezTo>
                    <a:cubicBezTo>
                      <a:pt x="7328293" y="4297394"/>
                      <a:pt x="7331345" y="4276641"/>
                      <a:pt x="7321502" y="4260644"/>
                    </a:cubicBezTo>
                    <a:cubicBezTo>
                      <a:pt x="7315382" y="4250396"/>
                      <a:pt x="7304845" y="4243576"/>
                      <a:pt x="7292990" y="4242190"/>
                    </a:cubicBezTo>
                    <a:lnTo>
                      <a:pt x="7283014" y="3958726"/>
                    </a:lnTo>
                    <a:cubicBezTo>
                      <a:pt x="7287328" y="3958187"/>
                      <a:pt x="7291486" y="3956772"/>
                      <a:pt x="7295234" y="3954569"/>
                    </a:cubicBezTo>
                    <a:cubicBezTo>
                      <a:pt x="7308404" y="3946647"/>
                      <a:pt x="7313809" y="3930291"/>
                      <a:pt x="7307953" y="3916081"/>
                    </a:cubicBezTo>
                    <a:lnTo>
                      <a:pt x="7541374" y="3769943"/>
                    </a:lnTo>
                    <a:cubicBezTo>
                      <a:pt x="7554995" y="3786979"/>
                      <a:pt x="7579118" y="3791313"/>
                      <a:pt x="7597817" y="3780085"/>
                    </a:cubicBezTo>
                    <a:cubicBezTo>
                      <a:pt x="7603254" y="3776875"/>
                      <a:pt x="7607888" y="3772469"/>
                      <a:pt x="7611367" y="3767200"/>
                    </a:cubicBezTo>
                    <a:lnTo>
                      <a:pt x="7857258" y="3897876"/>
                    </a:lnTo>
                    <a:cubicBezTo>
                      <a:pt x="7851039" y="3913881"/>
                      <a:pt x="7858972" y="3931896"/>
                      <a:pt x="7874976" y="3938115"/>
                    </a:cubicBezTo>
                    <a:cubicBezTo>
                      <a:pt x="7890980" y="3944334"/>
                      <a:pt x="7908996" y="3936401"/>
                      <a:pt x="7915215" y="3920397"/>
                    </a:cubicBezTo>
                    <a:cubicBezTo>
                      <a:pt x="7918119" y="3912923"/>
                      <a:pt x="7918023" y="3904616"/>
                      <a:pt x="7914948" y="3897212"/>
                    </a:cubicBezTo>
                    <a:lnTo>
                      <a:pt x="8156017" y="3746585"/>
                    </a:lnTo>
                    <a:cubicBezTo>
                      <a:pt x="8170127" y="3762666"/>
                      <a:pt x="8194602" y="3764264"/>
                      <a:pt x="8210684" y="3750154"/>
                    </a:cubicBezTo>
                    <a:cubicBezTo>
                      <a:pt x="8226765" y="3736044"/>
                      <a:pt x="8228363" y="3711569"/>
                      <a:pt x="8214253" y="3695488"/>
                    </a:cubicBezTo>
                    <a:cubicBezTo>
                      <a:pt x="8207960" y="3688315"/>
                      <a:pt x="8199240" y="3683718"/>
                      <a:pt x="8189767" y="3682577"/>
                    </a:cubicBezTo>
                    <a:lnTo>
                      <a:pt x="8180290" y="3413494"/>
                    </a:lnTo>
                    <a:cubicBezTo>
                      <a:pt x="8204340" y="3411310"/>
                      <a:pt x="8222066" y="3390044"/>
                      <a:pt x="8219882" y="3365994"/>
                    </a:cubicBezTo>
                    <a:cubicBezTo>
                      <a:pt x="8217698" y="3341944"/>
                      <a:pt x="8196432" y="3324218"/>
                      <a:pt x="8172382" y="3326402"/>
                    </a:cubicBezTo>
                    <a:cubicBezTo>
                      <a:pt x="8165831" y="3326997"/>
                      <a:pt x="8159498" y="3329062"/>
                      <a:pt x="8153856" y="3332445"/>
                    </a:cubicBezTo>
                    <a:cubicBezTo>
                      <a:pt x="8148070" y="3335933"/>
                      <a:pt x="8143197" y="3340748"/>
                      <a:pt x="8139641" y="3346493"/>
                    </a:cubicBezTo>
                    <a:lnTo>
                      <a:pt x="7891922" y="3214903"/>
                    </a:lnTo>
                    <a:cubicBezTo>
                      <a:pt x="7897760" y="3198756"/>
                      <a:pt x="7889404" y="3180933"/>
                      <a:pt x="7873257" y="3175094"/>
                    </a:cubicBezTo>
                    <a:cubicBezTo>
                      <a:pt x="7857110" y="3169255"/>
                      <a:pt x="7839286" y="3177612"/>
                      <a:pt x="7833448" y="3193759"/>
                    </a:cubicBezTo>
                    <a:cubicBezTo>
                      <a:pt x="7830683" y="3201406"/>
                      <a:pt x="7831024" y="3209832"/>
                      <a:pt x="7834398" y="3217230"/>
                    </a:cubicBezTo>
                    <a:lnTo>
                      <a:pt x="7586844" y="3372013"/>
                    </a:lnTo>
                    <a:cubicBezTo>
                      <a:pt x="7577205" y="3359518"/>
                      <a:pt x="7559748" y="3356199"/>
                      <a:pt x="7546195" y="3364282"/>
                    </a:cubicBezTo>
                    <a:cubicBezTo>
                      <a:pt x="7542707" y="3366404"/>
                      <a:pt x="7539705" y="3369237"/>
                      <a:pt x="7537384" y="3372595"/>
                    </a:cubicBezTo>
                    <a:lnTo>
                      <a:pt x="7288002" y="3240090"/>
                    </a:lnTo>
                    <a:cubicBezTo>
                      <a:pt x="7295814" y="3220222"/>
                      <a:pt x="7286040" y="3197784"/>
                      <a:pt x="7266172" y="3189973"/>
                    </a:cubicBezTo>
                    <a:cubicBezTo>
                      <a:pt x="7246305" y="3182162"/>
                      <a:pt x="7223866" y="3191936"/>
                      <a:pt x="7216055" y="3211803"/>
                    </a:cubicBezTo>
                    <a:cubicBezTo>
                      <a:pt x="7212124" y="3221801"/>
                      <a:pt x="7212531" y="3232982"/>
                      <a:pt x="7217178" y="3242667"/>
                    </a:cubicBezTo>
                    <a:lnTo>
                      <a:pt x="6993233" y="3382321"/>
                    </a:lnTo>
                    <a:cubicBezTo>
                      <a:pt x="6976805" y="3360209"/>
                      <a:pt x="6945564" y="3355602"/>
                      <a:pt x="6923452" y="3372029"/>
                    </a:cubicBezTo>
                    <a:cubicBezTo>
                      <a:pt x="6901340" y="3388457"/>
                      <a:pt x="6896733" y="3419699"/>
                      <a:pt x="6913160" y="3441810"/>
                    </a:cubicBezTo>
                    <a:cubicBezTo>
                      <a:pt x="6922024" y="3453741"/>
                      <a:pt x="6935746" y="3461096"/>
                      <a:pt x="6950589" y="3461873"/>
                    </a:cubicBezTo>
                    <a:lnTo>
                      <a:pt x="6959899" y="3726884"/>
                    </a:lnTo>
                    <a:cubicBezTo>
                      <a:pt x="6955028" y="3727669"/>
                      <a:pt x="6950348" y="3729361"/>
                      <a:pt x="6946100" y="3731871"/>
                    </a:cubicBezTo>
                    <a:cubicBezTo>
                      <a:pt x="6929017" y="3742164"/>
                      <a:pt x="6922513" y="3763725"/>
                      <a:pt x="6931054" y="3781748"/>
                    </a:cubicBezTo>
                    <a:lnTo>
                      <a:pt x="6689985" y="3932374"/>
                    </a:lnTo>
                    <a:cubicBezTo>
                      <a:pt x="6679993" y="3921446"/>
                      <a:pt x="6663682" y="3919081"/>
                      <a:pt x="6650998" y="3926721"/>
                    </a:cubicBezTo>
                    <a:cubicBezTo>
                      <a:pt x="6647966" y="3928519"/>
                      <a:pt x="6645290" y="3930858"/>
                      <a:pt x="6643101" y="3933621"/>
                    </a:cubicBezTo>
                    <a:lnTo>
                      <a:pt x="6401283" y="3805190"/>
                    </a:lnTo>
                    <a:cubicBezTo>
                      <a:pt x="6412477" y="3780020"/>
                      <a:pt x="6401147" y="3750543"/>
                      <a:pt x="6375978" y="3739349"/>
                    </a:cubicBezTo>
                    <a:cubicBezTo>
                      <a:pt x="6370397" y="3736867"/>
                      <a:pt x="6364407" y="3735431"/>
                      <a:pt x="6358307" y="3735113"/>
                    </a:cubicBezTo>
                    <a:lnTo>
                      <a:pt x="6348747" y="3464201"/>
                    </a:lnTo>
                    <a:cubicBezTo>
                      <a:pt x="6352230" y="3463513"/>
                      <a:pt x="6355573" y="3462249"/>
                      <a:pt x="6358640" y="3460460"/>
                    </a:cubicBezTo>
                    <a:cubicBezTo>
                      <a:pt x="6372170" y="3452330"/>
                      <a:pt x="6377460" y="3435352"/>
                      <a:pt x="6370942" y="3420975"/>
                    </a:cubicBezTo>
                    <a:lnTo>
                      <a:pt x="6611596" y="3270515"/>
                    </a:lnTo>
                    <a:cubicBezTo>
                      <a:pt x="6624865" y="3287297"/>
                      <a:pt x="6649226" y="3290144"/>
                      <a:pt x="6666008" y="3276875"/>
                    </a:cubicBezTo>
                    <a:cubicBezTo>
                      <a:pt x="6681289" y="3264792"/>
                      <a:pt x="6685220" y="3243240"/>
                      <a:pt x="6675188" y="3226541"/>
                    </a:cubicBezTo>
                    <a:cubicBezTo>
                      <a:pt x="6668586" y="3215716"/>
                      <a:pt x="6657160" y="3208749"/>
                      <a:pt x="6644514" y="3207837"/>
                    </a:cubicBezTo>
                    <a:lnTo>
                      <a:pt x="6635204" y="2941830"/>
                    </a:lnTo>
                    <a:cubicBezTo>
                      <a:pt x="6641875" y="2940897"/>
                      <a:pt x="6648292" y="2938635"/>
                      <a:pt x="6654074" y="2935179"/>
                    </a:cubicBezTo>
                    <a:cubicBezTo>
                      <a:pt x="6676027" y="2922000"/>
                      <a:pt x="6684433" y="2894338"/>
                      <a:pt x="6673526" y="2871171"/>
                    </a:cubicBezTo>
                    <a:lnTo>
                      <a:pt x="6906282" y="2725865"/>
                    </a:lnTo>
                    <a:cubicBezTo>
                      <a:pt x="6916699" y="2738658"/>
                      <a:pt x="6934921" y="2741878"/>
                      <a:pt x="6949092" y="2733429"/>
                    </a:cubicBezTo>
                    <a:cubicBezTo>
                      <a:pt x="6952232" y="2731581"/>
                      <a:pt x="6955042" y="2729221"/>
                      <a:pt x="6957405" y="2726447"/>
                    </a:cubicBezTo>
                    <a:lnTo>
                      <a:pt x="7195648" y="2853050"/>
                    </a:lnTo>
                    <a:cubicBezTo>
                      <a:pt x="7182439" y="2877222"/>
                      <a:pt x="7191326" y="2907526"/>
                      <a:pt x="7215498" y="2920735"/>
                    </a:cubicBezTo>
                    <a:cubicBezTo>
                      <a:pt x="7239670" y="2933944"/>
                      <a:pt x="7269974" y="2925056"/>
                      <a:pt x="7283183" y="2900884"/>
                    </a:cubicBezTo>
                    <a:cubicBezTo>
                      <a:pt x="7291672" y="2885351"/>
                      <a:pt x="7291291" y="2866482"/>
                      <a:pt x="7282183" y="2851304"/>
                    </a:cubicBezTo>
                    <a:lnTo>
                      <a:pt x="7509453" y="2709156"/>
                    </a:lnTo>
                    <a:cubicBezTo>
                      <a:pt x="7523128" y="2725609"/>
                      <a:pt x="7547551" y="2727862"/>
                      <a:pt x="7564004" y="2714187"/>
                    </a:cubicBezTo>
                    <a:cubicBezTo>
                      <a:pt x="7580457" y="2700512"/>
                      <a:pt x="7582709" y="2676088"/>
                      <a:pt x="7569035" y="2659635"/>
                    </a:cubicBezTo>
                    <a:cubicBezTo>
                      <a:pt x="7562446" y="2651708"/>
                      <a:pt x="7552970" y="2646734"/>
                      <a:pt x="7542704" y="2645813"/>
                    </a:cubicBezTo>
                    <a:lnTo>
                      <a:pt x="7533061" y="2383713"/>
                    </a:lnTo>
                    <a:cubicBezTo>
                      <a:pt x="7560420" y="2380506"/>
                      <a:pt x="7579999" y="2355727"/>
                      <a:pt x="7576791" y="2328369"/>
                    </a:cubicBezTo>
                    <a:cubicBezTo>
                      <a:pt x="7576049" y="2322038"/>
                      <a:pt x="7574100" y="2315909"/>
                      <a:pt x="7571051" y="2310312"/>
                    </a:cubicBezTo>
                    <a:lnTo>
                      <a:pt x="7785768" y="2176061"/>
                    </a:lnTo>
                    <a:cubicBezTo>
                      <a:pt x="7802386" y="2198030"/>
                      <a:pt x="7833666" y="2202369"/>
                      <a:pt x="7855636" y="2185752"/>
                    </a:cubicBezTo>
                    <a:cubicBezTo>
                      <a:pt x="7860060" y="2182405"/>
                      <a:pt x="7863896" y="2178343"/>
                      <a:pt x="7866984" y="2173734"/>
                    </a:cubicBezTo>
                    <a:lnTo>
                      <a:pt x="8106640" y="2301001"/>
                    </a:lnTo>
                    <a:cubicBezTo>
                      <a:pt x="8101067" y="2317242"/>
                      <a:pt x="8109715" y="2334926"/>
                      <a:pt x="8125956" y="2340498"/>
                    </a:cubicBezTo>
                    <a:cubicBezTo>
                      <a:pt x="8142196" y="2346071"/>
                      <a:pt x="8159880" y="2337423"/>
                      <a:pt x="8165453" y="2321182"/>
                    </a:cubicBezTo>
                    <a:cubicBezTo>
                      <a:pt x="8167895" y="2314065"/>
                      <a:pt x="8167673" y="2306304"/>
                      <a:pt x="8164829" y="2299339"/>
                    </a:cubicBezTo>
                    <a:lnTo>
                      <a:pt x="8398000" y="2153700"/>
                    </a:lnTo>
                    <a:cubicBezTo>
                      <a:pt x="8413249" y="2174431"/>
                      <a:pt x="8441768" y="2180157"/>
                      <a:pt x="8463837" y="2166917"/>
                    </a:cubicBezTo>
                    <a:cubicBezTo>
                      <a:pt x="8469690" y="2163386"/>
                      <a:pt x="8474755" y="2158689"/>
                      <a:pt x="8478717" y="2153118"/>
                    </a:cubicBezTo>
                    <a:lnTo>
                      <a:pt x="8715463" y="2278391"/>
                    </a:lnTo>
                    <a:cubicBezTo>
                      <a:pt x="8710201" y="2294735"/>
                      <a:pt x="8719184" y="2312250"/>
                      <a:pt x="8735528" y="2317513"/>
                    </a:cubicBezTo>
                    <a:cubicBezTo>
                      <a:pt x="8751872" y="2322776"/>
                      <a:pt x="8769387" y="2313792"/>
                      <a:pt x="8774650" y="2297449"/>
                    </a:cubicBezTo>
                    <a:cubicBezTo>
                      <a:pt x="8776645" y="2291253"/>
                      <a:pt x="8776645" y="2284587"/>
                      <a:pt x="8774650" y="2278391"/>
                    </a:cubicBezTo>
                    <a:lnTo>
                      <a:pt x="9005827" y="2133832"/>
                    </a:lnTo>
                    <a:cubicBezTo>
                      <a:pt x="9023321" y="2155110"/>
                      <a:pt x="9054751" y="2158178"/>
                      <a:pt x="9076029" y="2140684"/>
                    </a:cubicBezTo>
                    <a:cubicBezTo>
                      <a:pt x="9097307" y="2123190"/>
                      <a:pt x="9100374" y="2091759"/>
                      <a:pt x="9082880" y="2070481"/>
                    </a:cubicBezTo>
                    <a:cubicBezTo>
                      <a:pt x="9074319" y="2060068"/>
                      <a:pt x="9061906" y="2053564"/>
                      <a:pt x="9048471" y="2052451"/>
                    </a:cubicBezTo>
                    <a:lnTo>
                      <a:pt x="9038995" y="1783783"/>
                    </a:lnTo>
                    <a:cubicBezTo>
                      <a:pt x="9042660" y="1783146"/>
                      <a:pt x="9046181" y="1781851"/>
                      <a:pt x="9049385" y="1779960"/>
                    </a:cubicBezTo>
                    <a:cubicBezTo>
                      <a:pt x="9064169" y="1771099"/>
                      <a:pt x="9068969" y="1751932"/>
                      <a:pt x="9060109" y="1737149"/>
                    </a:cubicBezTo>
                    <a:cubicBezTo>
                      <a:pt x="9051248" y="1722366"/>
                      <a:pt x="9032081" y="1717565"/>
                      <a:pt x="9017298" y="1726426"/>
                    </a:cubicBezTo>
                    <a:cubicBezTo>
                      <a:pt x="9014151" y="1728298"/>
                      <a:pt x="9011340" y="1730687"/>
                      <a:pt x="9008985" y="1733492"/>
                    </a:cubicBezTo>
                    <a:lnTo>
                      <a:pt x="8768415" y="1605725"/>
                    </a:lnTo>
                    <a:cubicBezTo>
                      <a:pt x="8779396" y="1580462"/>
                      <a:pt x="8767818" y="1551081"/>
                      <a:pt x="8742555" y="1540101"/>
                    </a:cubicBezTo>
                    <a:cubicBezTo>
                      <a:pt x="8717292" y="1529120"/>
                      <a:pt x="8687912" y="1540698"/>
                      <a:pt x="8676931" y="1565961"/>
                    </a:cubicBezTo>
                    <a:cubicBezTo>
                      <a:pt x="8671049" y="1579493"/>
                      <a:pt x="8671461" y="1594936"/>
                      <a:pt x="8678056" y="1608136"/>
                    </a:cubicBezTo>
                    <a:lnTo>
                      <a:pt x="8446547" y="1753026"/>
                    </a:lnTo>
                    <a:cubicBezTo>
                      <a:pt x="8436566" y="1742027"/>
                      <a:pt x="8420199" y="1739624"/>
                      <a:pt x="8407477" y="1747290"/>
                    </a:cubicBezTo>
                    <a:cubicBezTo>
                      <a:pt x="8404236" y="1749310"/>
                      <a:pt x="8401413" y="1751935"/>
                      <a:pt x="8399164" y="1755021"/>
                    </a:cubicBezTo>
                    <a:lnTo>
                      <a:pt x="8146624" y="1620771"/>
                    </a:lnTo>
                    <a:cubicBezTo>
                      <a:pt x="8153785" y="1602276"/>
                      <a:pt x="8144598" y="1581477"/>
                      <a:pt x="8126103" y="1574316"/>
                    </a:cubicBezTo>
                    <a:cubicBezTo>
                      <a:pt x="8107608" y="1567154"/>
                      <a:pt x="8086810" y="1576341"/>
                      <a:pt x="8079648" y="1594836"/>
                    </a:cubicBezTo>
                    <a:cubicBezTo>
                      <a:pt x="8076261" y="1603584"/>
                      <a:pt x="8076431" y="1613311"/>
                      <a:pt x="8080122" y="1621935"/>
                    </a:cubicBezTo>
                    <a:lnTo>
                      <a:pt x="7837307" y="1773725"/>
                    </a:lnTo>
                    <a:cubicBezTo>
                      <a:pt x="7827638" y="1761576"/>
                      <a:pt x="7810458" y="1758481"/>
                      <a:pt x="7797156" y="1766493"/>
                    </a:cubicBezTo>
                    <a:cubicBezTo>
                      <a:pt x="7793326" y="1768752"/>
                      <a:pt x="7790058" y="1771850"/>
                      <a:pt x="7787597" y="1775554"/>
                    </a:cubicBezTo>
                    <a:lnTo>
                      <a:pt x="7547359" y="1647954"/>
                    </a:lnTo>
                    <a:cubicBezTo>
                      <a:pt x="7558769" y="1622882"/>
                      <a:pt x="7547693" y="1593308"/>
                      <a:pt x="7522622" y="1581898"/>
                    </a:cubicBezTo>
                    <a:cubicBezTo>
                      <a:pt x="7516774" y="1579237"/>
                      <a:pt x="7510468" y="1577730"/>
                      <a:pt x="7504050" y="1577461"/>
                    </a:cubicBezTo>
                    <a:lnTo>
                      <a:pt x="7494657" y="1308961"/>
                    </a:lnTo>
                    <a:cubicBezTo>
                      <a:pt x="7498332" y="1308361"/>
                      <a:pt x="7501860" y="1307063"/>
                      <a:pt x="7505048" y="1305137"/>
                    </a:cubicBezTo>
                    <a:cubicBezTo>
                      <a:pt x="7519321" y="1296532"/>
                      <a:pt x="7524301" y="1278222"/>
                      <a:pt x="7516353" y="1263573"/>
                    </a:cubicBezTo>
                    <a:lnTo>
                      <a:pt x="7759583" y="1111533"/>
                    </a:lnTo>
                    <a:cubicBezTo>
                      <a:pt x="7772241" y="1126802"/>
                      <a:pt x="7794880" y="1128918"/>
                      <a:pt x="7810149" y="1116260"/>
                    </a:cubicBezTo>
                    <a:cubicBezTo>
                      <a:pt x="7825417" y="1103602"/>
                      <a:pt x="7827534" y="1080963"/>
                      <a:pt x="7814876" y="1065695"/>
                    </a:cubicBezTo>
                    <a:cubicBezTo>
                      <a:pt x="7808764" y="1058323"/>
                      <a:pt x="7799962" y="1053697"/>
                      <a:pt x="7790424" y="1052845"/>
                    </a:cubicBezTo>
                    <a:lnTo>
                      <a:pt x="7780365" y="767469"/>
                    </a:lnTo>
                    <a:cubicBezTo>
                      <a:pt x="7783281" y="766727"/>
                      <a:pt x="7786079" y="765579"/>
                      <a:pt x="7788678" y="764061"/>
                    </a:cubicBezTo>
                    <a:cubicBezTo>
                      <a:pt x="7802022" y="755990"/>
                      <a:pt x="7807348" y="739300"/>
                      <a:pt x="7801147" y="724991"/>
                    </a:cubicBezTo>
                    <a:lnTo>
                      <a:pt x="8042216" y="574115"/>
                    </a:lnTo>
                    <a:cubicBezTo>
                      <a:pt x="8056015" y="590464"/>
                      <a:pt x="8080455" y="592531"/>
                      <a:pt x="8096804" y="578732"/>
                    </a:cubicBezTo>
                    <a:cubicBezTo>
                      <a:pt x="8113153" y="564933"/>
                      <a:pt x="8115220" y="540493"/>
                      <a:pt x="8101420" y="524144"/>
                    </a:cubicBezTo>
                    <a:cubicBezTo>
                      <a:pt x="8094973" y="516505"/>
                      <a:pt x="8085823" y="511655"/>
                      <a:pt x="8075882" y="510606"/>
                    </a:cubicBezTo>
                    <a:lnTo>
                      <a:pt x="8065990" y="229553"/>
                    </a:lnTo>
                    <a:cubicBezTo>
                      <a:pt x="8069416" y="228894"/>
                      <a:pt x="8072705" y="227657"/>
                      <a:pt x="8075716" y="225895"/>
                    </a:cubicBezTo>
                    <a:cubicBezTo>
                      <a:pt x="8090389" y="216889"/>
                      <a:pt x="8094981" y="197693"/>
                      <a:pt x="8085975" y="183021"/>
                    </a:cubicBezTo>
                    <a:cubicBezTo>
                      <a:pt x="8077094" y="168553"/>
                      <a:pt x="8058270" y="163851"/>
                      <a:pt x="8043629" y="172444"/>
                    </a:cubicBezTo>
                    <a:cubicBezTo>
                      <a:pt x="8040448" y="174200"/>
                      <a:pt x="8037628" y="176541"/>
                      <a:pt x="8035316" y="179344"/>
                    </a:cubicBezTo>
                    <a:lnTo>
                      <a:pt x="7779118" y="42849"/>
                    </a:lnTo>
                    <a:cubicBezTo>
                      <a:pt x="7785608" y="26952"/>
                      <a:pt x="7777982" y="8805"/>
                      <a:pt x="7762086" y="2315"/>
                    </a:cubicBezTo>
                    <a:cubicBezTo>
                      <a:pt x="7746189" y="-4175"/>
                      <a:pt x="7728041" y="3450"/>
                      <a:pt x="7721551" y="19347"/>
                    </a:cubicBezTo>
                    <a:cubicBezTo>
                      <a:pt x="7718298" y="27316"/>
                      <a:pt x="7718494" y="36277"/>
                      <a:pt x="7722093" y="44096"/>
                    </a:cubicBezTo>
                    <a:lnTo>
                      <a:pt x="7480276" y="195304"/>
                    </a:lnTo>
                    <a:cubicBezTo>
                      <a:pt x="7466673" y="178851"/>
                      <a:pt x="7442308" y="176540"/>
                      <a:pt x="7425855" y="190143"/>
                    </a:cubicBezTo>
                    <a:cubicBezTo>
                      <a:pt x="7409401" y="203746"/>
                      <a:pt x="7407091" y="228111"/>
                      <a:pt x="7420693" y="244564"/>
                    </a:cubicBezTo>
                    <a:cubicBezTo>
                      <a:pt x="7427397" y="252672"/>
                      <a:pt x="7437115" y="257698"/>
                      <a:pt x="7447607" y="258481"/>
                    </a:cubicBezTo>
                    <a:lnTo>
                      <a:pt x="7457582" y="541114"/>
                    </a:lnTo>
                    <a:cubicBezTo>
                      <a:pt x="7453734" y="541702"/>
                      <a:pt x="7450036" y="543028"/>
                      <a:pt x="7446692" y="545021"/>
                    </a:cubicBezTo>
                    <a:cubicBezTo>
                      <a:pt x="7433192" y="553178"/>
                      <a:pt x="7427940" y="570150"/>
                      <a:pt x="7434473" y="584506"/>
                    </a:cubicBezTo>
                    <a:lnTo>
                      <a:pt x="7187501" y="738957"/>
                    </a:lnTo>
                    <a:cubicBezTo>
                      <a:pt x="7176135" y="726026"/>
                      <a:pt x="7156439" y="724757"/>
                      <a:pt x="7143507" y="736124"/>
                    </a:cubicBezTo>
                    <a:cubicBezTo>
                      <a:pt x="7130577" y="747490"/>
                      <a:pt x="7129308" y="767186"/>
                      <a:pt x="7140674" y="780117"/>
                    </a:cubicBezTo>
                    <a:cubicBezTo>
                      <a:pt x="7145937" y="786105"/>
                      <a:pt x="7153294" y="789849"/>
                      <a:pt x="7161233" y="790579"/>
                    </a:cubicBezTo>
                    <a:lnTo>
                      <a:pt x="7171208" y="1072547"/>
                    </a:lnTo>
                    <a:cubicBezTo>
                      <a:pt x="7165905" y="1073208"/>
                      <a:pt x="7160803" y="1074994"/>
                      <a:pt x="7156245" y="1077784"/>
                    </a:cubicBezTo>
                    <a:cubicBezTo>
                      <a:pt x="7139220" y="1088132"/>
                      <a:pt x="7132849" y="1109727"/>
                      <a:pt x="7141532" y="1127660"/>
                    </a:cubicBezTo>
                    <a:lnTo>
                      <a:pt x="6917920" y="1267314"/>
                    </a:lnTo>
                    <a:cubicBezTo>
                      <a:pt x="6902348" y="1247746"/>
                      <a:pt x="6874694" y="1242735"/>
                      <a:pt x="6853246" y="1255593"/>
                    </a:cubicBezTo>
                    <a:cubicBezTo>
                      <a:pt x="6847077" y="1259335"/>
                      <a:pt x="6841777" y="1264352"/>
                      <a:pt x="6837702" y="1270306"/>
                    </a:cubicBezTo>
                    <a:lnTo>
                      <a:pt x="6597131" y="1142540"/>
                    </a:lnTo>
                    <a:cubicBezTo>
                      <a:pt x="6602704" y="1126299"/>
                      <a:pt x="6594056" y="1108615"/>
                      <a:pt x="6577815" y="1103043"/>
                    </a:cubicBezTo>
                    <a:cubicBezTo>
                      <a:pt x="6561574" y="1097470"/>
                      <a:pt x="6543891" y="1106118"/>
                      <a:pt x="6538318" y="1122359"/>
                    </a:cubicBezTo>
                    <a:cubicBezTo>
                      <a:pt x="6535876" y="1129476"/>
                      <a:pt x="6536098" y="1137237"/>
                      <a:pt x="6538942" y="1144202"/>
                    </a:cubicBezTo>
                    <a:lnTo>
                      <a:pt x="6299203" y="1293831"/>
                    </a:lnTo>
                    <a:cubicBezTo>
                      <a:pt x="6285991" y="1277063"/>
                      <a:pt x="6261687" y="1274180"/>
                      <a:pt x="6244918" y="1287393"/>
                    </a:cubicBezTo>
                    <a:cubicBezTo>
                      <a:pt x="6228150" y="1300605"/>
                      <a:pt x="6225268" y="1324909"/>
                      <a:pt x="6238480" y="1341678"/>
                    </a:cubicBezTo>
                    <a:cubicBezTo>
                      <a:pt x="6245076" y="1350049"/>
                      <a:pt x="6254836" y="1355326"/>
                      <a:pt x="6265454" y="1356260"/>
                    </a:cubicBezTo>
                    <a:lnTo>
                      <a:pt x="6275429" y="1638893"/>
                    </a:lnTo>
                    <a:cubicBezTo>
                      <a:pt x="6272135" y="1639511"/>
                      <a:pt x="6268980" y="1640722"/>
                      <a:pt x="6266119" y="1642467"/>
                    </a:cubicBezTo>
                    <a:cubicBezTo>
                      <a:pt x="6251271" y="1651182"/>
                      <a:pt x="6246300" y="1670283"/>
                      <a:pt x="6255014" y="1685130"/>
                    </a:cubicBezTo>
                    <a:cubicBezTo>
                      <a:pt x="6263729" y="1699978"/>
                      <a:pt x="6282830" y="1704950"/>
                      <a:pt x="6297677" y="1696235"/>
                    </a:cubicBezTo>
                    <a:cubicBezTo>
                      <a:pt x="6297854" y="1696131"/>
                      <a:pt x="6298031" y="1696025"/>
                      <a:pt x="6298206" y="1695918"/>
                    </a:cubicBezTo>
                    <a:cubicBezTo>
                      <a:pt x="6301206" y="1694043"/>
                      <a:pt x="6303875" y="1691683"/>
                      <a:pt x="6306103" y="1688935"/>
                    </a:cubicBezTo>
                    <a:lnTo>
                      <a:pt x="6563798" y="1825763"/>
                    </a:lnTo>
                    <a:cubicBezTo>
                      <a:pt x="6560730" y="1834413"/>
                      <a:pt x="6561674" y="1843981"/>
                      <a:pt x="6566375" y="1851865"/>
                    </a:cubicBezTo>
                    <a:cubicBezTo>
                      <a:pt x="6575504" y="1866461"/>
                      <a:pt x="6594737" y="1870894"/>
                      <a:pt x="6609333" y="1861764"/>
                    </a:cubicBezTo>
                    <a:cubicBezTo>
                      <a:pt x="6622406" y="1853588"/>
                      <a:pt x="6627537" y="1837083"/>
                      <a:pt x="6621405" y="1822937"/>
                    </a:cubicBezTo>
                    <a:lnTo>
                      <a:pt x="6860978" y="1673307"/>
                    </a:lnTo>
                    <a:cubicBezTo>
                      <a:pt x="6873253" y="1688043"/>
                      <a:pt x="6894463" y="1691578"/>
                      <a:pt x="6910854" y="1681620"/>
                    </a:cubicBezTo>
                    <a:cubicBezTo>
                      <a:pt x="6915447" y="1678872"/>
                      <a:pt x="6919412" y="1675190"/>
                      <a:pt x="6922492" y="1670814"/>
                    </a:cubicBezTo>
                    <a:lnTo>
                      <a:pt x="7172538" y="1803817"/>
                    </a:lnTo>
                    <a:cubicBezTo>
                      <a:pt x="7166620" y="1819838"/>
                      <a:pt x="7174810" y="1837622"/>
                      <a:pt x="7190830" y="1843540"/>
                    </a:cubicBezTo>
                    <a:cubicBezTo>
                      <a:pt x="7193581" y="1844556"/>
                      <a:pt x="7196463" y="1845176"/>
                      <a:pt x="7199388" y="1845381"/>
                    </a:cubicBezTo>
                    <a:lnTo>
                      <a:pt x="7208865" y="2118537"/>
                    </a:lnTo>
                    <a:cubicBezTo>
                      <a:pt x="7181543" y="2122043"/>
                      <a:pt x="7162237" y="2147034"/>
                      <a:pt x="7165743" y="2174356"/>
                    </a:cubicBezTo>
                    <a:cubicBezTo>
                      <a:pt x="7166466" y="2179989"/>
                      <a:pt x="7168145" y="2185458"/>
                      <a:pt x="7170709" y="2190525"/>
                    </a:cubicBezTo>
                    <a:lnTo>
                      <a:pt x="6946848" y="2330511"/>
                    </a:lnTo>
                    <a:cubicBezTo>
                      <a:pt x="6934591" y="2315743"/>
                      <a:pt x="6913355" y="2312204"/>
                      <a:pt x="6896971" y="2322199"/>
                    </a:cubicBezTo>
                    <a:cubicBezTo>
                      <a:pt x="6892410" y="2324888"/>
                      <a:pt x="6888472" y="2328514"/>
                      <a:pt x="6885417" y="2332839"/>
                    </a:cubicBezTo>
                    <a:lnTo>
                      <a:pt x="6643600" y="2203576"/>
                    </a:lnTo>
                    <a:cubicBezTo>
                      <a:pt x="6652081" y="2183935"/>
                      <a:pt x="6643033" y="2161137"/>
                      <a:pt x="6623392" y="2152656"/>
                    </a:cubicBezTo>
                    <a:cubicBezTo>
                      <a:pt x="6603751" y="2144176"/>
                      <a:pt x="6580953" y="2153223"/>
                      <a:pt x="6572473" y="2172864"/>
                    </a:cubicBezTo>
                    <a:cubicBezTo>
                      <a:pt x="6568166" y="2182838"/>
                      <a:pt x="6568245" y="2194162"/>
                      <a:pt x="6572692" y="2204075"/>
                    </a:cubicBezTo>
                    <a:lnTo>
                      <a:pt x="6346752" y="2345391"/>
                    </a:lnTo>
                    <a:cubicBezTo>
                      <a:pt x="6330614" y="2323068"/>
                      <a:pt x="6299435" y="2318053"/>
                      <a:pt x="6277111" y="2334191"/>
                    </a:cubicBezTo>
                    <a:cubicBezTo>
                      <a:pt x="6254787" y="2350329"/>
                      <a:pt x="6249772" y="2381508"/>
                      <a:pt x="6265910" y="2403832"/>
                    </a:cubicBezTo>
                    <a:cubicBezTo>
                      <a:pt x="6274864" y="2416218"/>
                      <a:pt x="6289003" y="2423815"/>
                      <a:pt x="6304274" y="2424445"/>
                    </a:cubicBezTo>
                    <a:lnTo>
                      <a:pt x="6313834" y="2697103"/>
                    </a:lnTo>
                    <a:cubicBezTo>
                      <a:pt x="6310126" y="2697633"/>
                      <a:pt x="6306564" y="2698905"/>
                      <a:pt x="6303360" y="2700844"/>
                    </a:cubicBezTo>
                    <a:cubicBezTo>
                      <a:pt x="6290079" y="2708839"/>
                      <a:pt x="6285429" y="2725862"/>
                      <a:pt x="6292802" y="2739498"/>
                    </a:cubicBezTo>
                    <a:lnTo>
                      <a:pt x="6044584" y="2894697"/>
                    </a:lnTo>
                    <a:cubicBezTo>
                      <a:pt x="6032819" y="2880596"/>
                      <a:pt x="6011851" y="2878704"/>
                      <a:pt x="5997751" y="2890469"/>
                    </a:cubicBezTo>
                    <a:cubicBezTo>
                      <a:pt x="5983651" y="2902235"/>
                      <a:pt x="5981758" y="2923203"/>
                      <a:pt x="5993524" y="2937303"/>
                    </a:cubicBezTo>
                    <a:cubicBezTo>
                      <a:pt x="5999250" y="2944164"/>
                      <a:pt x="6007496" y="2948432"/>
                      <a:pt x="6016404" y="2949145"/>
                    </a:cubicBezTo>
                    <a:lnTo>
                      <a:pt x="6026047" y="3223465"/>
                    </a:lnTo>
                    <a:cubicBezTo>
                      <a:pt x="6020170" y="3224213"/>
                      <a:pt x="6014510" y="3226165"/>
                      <a:pt x="6009422" y="3229201"/>
                    </a:cubicBezTo>
                    <a:cubicBezTo>
                      <a:pt x="5989607" y="3240973"/>
                      <a:pt x="5982333" y="3266105"/>
                      <a:pt x="5992796" y="3286642"/>
                    </a:cubicBezTo>
                    <a:lnTo>
                      <a:pt x="5767604" y="3427459"/>
                    </a:lnTo>
                    <a:cubicBezTo>
                      <a:pt x="5755478" y="3410057"/>
                      <a:pt x="5731540" y="3405781"/>
                      <a:pt x="5714138" y="3417908"/>
                    </a:cubicBezTo>
                    <a:cubicBezTo>
                      <a:pt x="5708889" y="3421566"/>
                      <a:pt x="5704636" y="3426478"/>
                      <a:pt x="5701768" y="3432197"/>
                    </a:cubicBezTo>
                    <a:lnTo>
                      <a:pt x="5451472" y="3299194"/>
                    </a:lnTo>
                    <a:cubicBezTo>
                      <a:pt x="5456867" y="3282893"/>
                      <a:pt x="5448027" y="3265305"/>
                      <a:pt x="5431727" y="3259909"/>
                    </a:cubicBezTo>
                    <a:cubicBezTo>
                      <a:pt x="5415426" y="3254514"/>
                      <a:pt x="5397838" y="3263354"/>
                      <a:pt x="5392442" y="3279654"/>
                    </a:cubicBezTo>
                    <a:cubicBezTo>
                      <a:pt x="5390084" y="3286779"/>
                      <a:pt x="5390382" y="3294516"/>
                      <a:pt x="5393283" y="3301438"/>
                    </a:cubicBezTo>
                    <a:lnTo>
                      <a:pt x="5164765" y="3444750"/>
                    </a:lnTo>
                    <a:cubicBezTo>
                      <a:pt x="5149318" y="3424753"/>
                      <a:pt x="5121357" y="3419468"/>
                      <a:pt x="5099676" y="3432447"/>
                    </a:cubicBezTo>
                    <a:cubicBezTo>
                      <a:pt x="5092625" y="3436631"/>
                      <a:pt x="5086736" y="3442519"/>
                      <a:pt x="5082552" y="3449571"/>
                    </a:cubicBezTo>
                    <a:lnTo>
                      <a:pt x="4839738" y="3320474"/>
                    </a:lnTo>
                    <a:cubicBezTo>
                      <a:pt x="4844922" y="3304346"/>
                      <a:pt x="4836050" y="3287069"/>
                      <a:pt x="4819922" y="3281885"/>
                    </a:cubicBezTo>
                    <a:cubicBezTo>
                      <a:pt x="4818118" y="3281305"/>
                      <a:pt x="4816264" y="3280894"/>
                      <a:pt x="4814384" y="3280656"/>
                    </a:cubicBezTo>
                    <a:lnTo>
                      <a:pt x="4804076" y="2987633"/>
                    </a:lnTo>
                    <a:cubicBezTo>
                      <a:pt x="4820755" y="2984668"/>
                      <a:pt x="4831873" y="2968743"/>
                      <a:pt x="4828908" y="2952063"/>
                    </a:cubicBezTo>
                    <a:cubicBezTo>
                      <a:pt x="4828490" y="2949716"/>
                      <a:pt x="4827801" y="2947426"/>
                      <a:pt x="4826853" y="2945238"/>
                    </a:cubicBezTo>
                    <a:lnTo>
                      <a:pt x="5065761" y="2795609"/>
                    </a:lnTo>
                    <a:cubicBezTo>
                      <a:pt x="5079794" y="2811758"/>
                      <a:pt x="5104260" y="2813473"/>
                      <a:pt x="5120410" y="2799441"/>
                    </a:cubicBezTo>
                    <a:cubicBezTo>
                      <a:pt x="5136559" y="2785408"/>
                      <a:pt x="5138274" y="2760941"/>
                      <a:pt x="5124242" y="2744792"/>
                    </a:cubicBezTo>
                    <a:cubicBezTo>
                      <a:pt x="5117989" y="2737596"/>
                      <a:pt x="5109302" y="2732958"/>
                      <a:pt x="5099843" y="2731767"/>
                    </a:cubicBezTo>
                    <a:lnTo>
                      <a:pt x="5089951" y="2449134"/>
                    </a:lnTo>
                    <a:cubicBezTo>
                      <a:pt x="5093604" y="2448449"/>
                      <a:pt x="5097116" y="2447157"/>
                      <a:pt x="5100342" y="2445310"/>
                    </a:cubicBezTo>
                    <a:cubicBezTo>
                      <a:pt x="5113710" y="2437174"/>
                      <a:pt x="5118974" y="2420387"/>
                      <a:pt x="5112644" y="2406074"/>
                    </a:cubicBezTo>
                    <a:lnTo>
                      <a:pt x="5348892" y="2258357"/>
                    </a:lnTo>
                    <a:cubicBezTo>
                      <a:pt x="5362471" y="2275651"/>
                      <a:pt x="5386781" y="2280171"/>
                      <a:pt x="5405668" y="2268914"/>
                    </a:cubicBezTo>
                    <a:cubicBezTo>
                      <a:pt x="5411479" y="2265429"/>
                      <a:pt x="5416379" y="2260614"/>
                      <a:pt x="5419966" y="2254866"/>
                    </a:cubicBezTo>
                    <a:lnTo>
                      <a:pt x="5663529" y="2384295"/>
                    </a:lnTo>
                    <a:cubicBezTo>
                      <a:pt x="5659674" y="2393846"/>
                      <a:pt x="5660536" y="2404654"/>
                      <a:pt x="5665857" y="2413473"/>
                    </a:cubicBezTo>
                    <a:cubicBezTo>
                      <a:pt x="5675745" y="2428947"/>
                      <a:pt x="5696306" y="2433474"/>
                      <a:pt x="5711780" y="2423585"/>
                    </a:cubicBezTo>
                    <a:cubicBezTo>
                      <a:pt x="5725121" y="2415060"/>
                      <a:pt x="5730601" y="2398309"/>
                      <a:pt x="5724877" y="2383547"/>
                    </a:cubicBezTo>
                    <a:lnTo>
                      <a:pt x="5965115" y="2233336"/>
                    </a:lnTo>
                    <a:cubicBezTo>
                      <a:pt x="5978373" y="2250126"/>
                      <a:pt x="6002733" y="2252989"/>
                      <a:pt x="6019523" y="2239730"/>
                    </a:cubicBezTo>
                    <a:cubicBezTo>
                      <a:pt x="6036313" y="2226471"/>
                      <a:pt x="6039176" y="2202111"/>
                      <a:pt x="6025917" y="2185321"/>
                    </a:cubicBezTo>
                    <a:cubicBezTo>
                      <a:pt x="6019063" y="2176641"/>
                      <a:pt x="6008825" y="2171305"/>
                      <a:pt x="5997784" y="2170658"/>
                    </a:cubicBezTo>
                    <a:lnTo>
                      <a:pt x="5988557" y="1907394"/>
                    </a:lnTo>
                    <a:cubicBezTo>
                      <a:pt x="5995214" y="1906512"/>
                      <a:pt x="6001614" y="1904247"/>
                      <a:pt x="6007344" y="1900744"/>
                    </a:cubicBezTo>
                    <a:cubicBezTo>
                      <a:pt x="6031220" y="1887007"/>
                      <a:pt x="6039440" y="1856516"/>
                      <a:pt x="6025704" y="1832639"/>
                    </a:cubicBezTo>
                    <a:cubicBezTo>
                      <a:pt x="6011967" y="1808763"/>
                      <a:pt x="5981476" y="1800542"/>
                      <a:pt x="5957600" y="1814279"/>
                    </a:cubicBezTo>
                    <a:cubicBezTo>
                      <a:pt x="5957079" y="1814578"/>
                      <a:pt x="5956564" y="1814887"/>
                      <a:pt x="5956054" y="1815206"/>
                    </a:cubicBezTo>
                    <a:cubicBezTo>
                      <a:pt x="5949853" y="1819007"/>
                      <a:pt x="5944527" y="1824078"/>
                      <a:pt x="5940426" y="1830085"/>
                    </a:cubicBezTo>
                    <a:lnTo>
                      <a:pt x="5698692" y="1701654"/>
                    </a:lnTo>
                    <a:cubicBezTo>
                      <a:pt x="5703821" y="1686474"/>
                      <a:pt x="5695674" y="1670011"/>
                      <a:pt x="5680494" y="1664882"/>
                    </a:cubicBezTo>
                    <a:cubicBezTo>
                      <a:pt x="5665315" y="1659753"/>
                      <a:pt x="5648852" y="1667900"/>
                      <a:pt x="5643722" y="1683079"/>
                    </a:cubicBezTo>
                    <a:cubicBezTo>
                      <a:pt x="5641472" y="1689739"/>
                      <a:pt x="5641716" y="1696989"/>
                      <a:pt x="5644410" y="1703482"/>
                    </a:cubicBezTo>
                    <a:lnTo>
                      <a:pt x="5395028" y="1859346"/>
                    </a:lnTo>
                    <a:cubicBezTo>
                      <a:pt x="5384375" y="1845939"/>
                      <a:pt x="5364870" y="1843706"/>
                      <a:pt x="5351463" y="1854359"/>
                    </a:cubicBezTo>
                    <a:cubicBezTo>
                      <a:pt x="5349369" y="1856023"/>
                      <a:pt x="5347499" y="1857951"/>
                      <a:pt x="5345900" y="1860094"/>
                    </a:cubicBezTo>
                    <a:lnTo>
                      <a:pt x="5100840" y="1729751"/>
                    </a:lnTo>
                    <a:cubicBezTo>
                      <a:pt x="5109807" y="1707032"/>
                      <a:pt x="5098658" y="1681346"/>
                      <a:pt x="5075939" y="1672380"/>
                    </a:cubicBezTo>
                    <a:cubicBezTo>
                      <a:pt x="5053220" y="1663414"/>
                      <a:pt x="5027535" y="1674563"/>
                      <a:pt x="5018568" y="1697281"/>
                    </a:cubicBezTo>
                    <a:cubicBezTo>
                      <a:pt x="5013965" y="1708947"/>
                      <a:pt x="5014530" y="1722018"/>
                      <a:pt x="5020124" y="1733242"/>
                    </a:cubicBezTo>
                    <a:lnTo>
                      <a:pt x="4789030" y="1877717"/>
                    </a:lnTo>
                    <a:cubicBezTo>
                      <a:pt x="4776238" y="1862501"/>
                      <a:pt x="4753533" y="1860535"/>
                      <a:pt x="4738316" y="1873327"/>
                    </a:cubicBezTo>
                    <a:cubicBezTo>
                      <a:pt x="4723100" y="1886119"/>
                      <a:pt x="4721135" y="1908825"/>
                      <a:pt x="4733927" y="1924041"/>
                    </a:cubicBezTo>
                    <a:cubicBezTo>
                      <a:pt x="4740065" y="1931343"/>
                      <a:pt x="4748852" y="1935910"/>
                      <a:pt x="4758356" y="1936738"/>
                    </a:cubicBezTo>
                    <a:lnTo>
                      <a:pt x="4767916" y="2208315"/>
                    </a:lnTo>
                    <a:cubicBezTo>
                      <a:pt x="4761800" y="2208987"/>
                      <a:pt x="4755902" y="2210972"/>
                      <a:pt x="4750625" y="2214134"/>
                    </a:cubicBezTo>
                    <a:cubicBezTo>
                      <a:pt x="4730564" y="2226108"/>
                      <a:pt x="4723492" y="2251759"/>
                      <a:pt x="4734582" y="2272323"/>
                    </a:cubicBezTo>
                    <a:lnTo>
                      <a:pt x="4504402" y="2416382"/>
                    </a:lnTo>
                    <a:cubicBezTo>
                      <a:pt x="4490528" y="2400097"/>
                      <a:pt x="4466079" y="2398142"/>
                      <a:pt x="4449794" y="2412016"/>
                    </a:cubicBezTo>
                    <a:cubicBezTo>
                      <a:pt x="4433509" y="2425891"/>
                      <a:pt x="4431554" y="2450340"/>
                      <a:pt x="4445428" y="2466625"/>
                    </a:cubicBezTo>
                    <a:cubicBezTo>
                      <a:pt x="4451938" y="2474267"/>
                      <a:pt x="4461160" y="2479082"/>
                      <a:pt x="4471152" y="2480058"/>
                    </a:cubicBezTo>
                    <a:lnTo>
                      <a:pt x="4480462" y="2745234"/>
                    </a:lnTo>
                    <a:cubicBezTo>
                      <a:pt x="4453206" y="2749220"/>
                      <a:pt x="4434342" y="2774547"/>
                      <a:pt x="4438328" y="2801803"/>
                    </a:cubicBezTo>
                    <a:cubicBezTo>
                      <a:pt x="4439020" y="2806532"/>
                      <a:pt x="4440387" y="2811136"/>
                      <a:pt x="4442389" y="2815476"/>
                    </a:cubicBezTo>
                    <a:lnTo>
                      <a:pt x="4221354" y="2953634"/>
                    </a:lnTo>
                    <a:cubicBezTo>
                      <a:pt x="4206071" y="2935055"/>
                      <a:pt x="4178621" y="2932384"/>
                      <a:pt x="4160042" y="2947667"/>
                    </a:cubicBezTo>
                    <a:cubicBezTo>
                      <a:pt x="4157320" y="2949907"/>
                      <a:pt x="4154879" y="2952468"/>
                      <a:pt x="4152774" y="2955296"/>
                    </a:cubicBezTo>
                    <a:lnTo>
                      <a:pt x="3918937" y="2831104"/>
                    </a:lnTo>
                    <a:cubicBezTo>
                      <a:pt x="3928809" y="2809065"/>
                      <a:pt x="3918946" y="2783197"/>
                      <a:pt x="3896907" y="2773325"/>
                    </a:cubicBezTo>
                    <a:cubicBezTo>
                      <a:pt x="3874869" y="2763453"/>
                      <a:pt x="3849000" y="2773316"/>
                      <a:pt x="3839128" y="2795354"/>
                    </a:cubicBezTo>
                    <a:cubicBezTo>
                      <a:pt x="3833890" y="2807047"/>
                      <a:pt x="3834045" y="2820449"/>
                      <a:pt x="3839551" y="2832018"/>
                    </a:cubicBezTo>
                    <a:lnTo>
                      <a:pt x="3607210" y="2977325"/>
                    </a:lnTo>
                    <a:cubicBezTo>
                      <a:pt x="3595346" y="2961569"/>
                      <a:pt x="3573507" y="2957302"/>
                      <a:pt x="3556585" y="2967433"/>
                    </a:cubicBezTo>
                    <a:cubicBezTo>
                      <a:pt x="3552024" y="2970122"/>
                      <a:pt x="3548086" y="2973748"/>
                      <a:pt x="3545030" y="2978073"/>
                    </a:cubicBezTo>
                    <a:lnTo>
                      <a:pt x="3300636" y="2848228"/>
                    </a:lnTo>
                    <a:cubicBezTo>
                      <a:pt x="3307018" y="2831009"/>
                      <a:pt x="3298232" y="2811876"/>
                      <a:pt x="3281013" y="2805495"/>
                    </a:cubicBezTo>
                    <a:cubicBezTo>
                      <a:pt x="3277343" y="2804135"/>
                      <a:pt x="3273461" y="2803433"/>
                      <a:pt x="3269547" y="2803423"/>
                    </a:cubicBezTo>
                    <a:lnTo>
                      <a:pt x="3260320" y="2530765"/>
                    </a:lnTo>
                    <a:cubicBezTo>
                      <a:pt x="3266660" y="2529756"/>
                      <a:pt x="3272753" y="2527556"/>
                      <a:pt x="3278275" y="2524281"/>
                    </a:cubicBezTo>
                    <a:cubicBezTo>
                      <a:pt x="3301896" y="2510095"/>
                      <a:pt x="3309544" y="2479447"/>
                      <a:pt x="3295358" y="2455826"/>
                    </a:cubicBezTo>
                    <a:cubicBezTo>
                      <a:pt x="3281171" y="2432205"/>
                      <a:pt x="3250523" y="2424557"/>
                      <a:pt x="3226902" y="2438743"/>
                    </a:cubicBezTo>
                    <a:cubicBezTo>
                      <a:pt x="3220384" y="2442691"/>
                      <a:pt x="3214842" y="2448062"/>
                      <a:pt x="3210693" y="2454455"/>
                    </a:cubicBezTo>
                    <a:lnTo>
                      <a:pt x="2974528" y="2329015"/>
                    </a:lnTo>
                    <a:cubicBezTo>
                      <a:pt x="2981352" y="2311966"/>
                      <a:pt x="2973062" y="2292613"/>
                      <a:pt x="2956013" y="2285790"/>
                    </a:cubicBezTo>
                    <a:cubicBezTo>
                      <a:pt x="2938964" y="2278966"/>
                      <a:pt x="2919611" y="2287256"/>
                      <a:pt x="2912788" y="2304305"/>
                    </a:cubicBezTo>
                    <a:cubicBezTo>
                      <a:pt x="2909404" y="2312760"/>
                      <a:pt x="2909635" y="2322233"/>
                      <a:pt x="2913429" y="2330512"/>
                    </a:cubicBezTo>
                    <a:lnTo>
                      <a:pt x="2680922" y="2475652"/>
                    </a:lnTo>
                    <a:cubicBezTo>
                      <a:pt x="2666064" y="2456674"/>
                      <a:pt x="2638634" y="2453334"/>
                      <a:pt x="2619656" y="2468192"/>
                    </a:cubicBezTo>
                    <a:cubicBezTo>
                      <a:pt x="2600678" y="2483050"/>
                      <a:pt x="2597338" y="2510479"/>
                      <a:pt x="2612196" y="2529458"/>
                    </a:cubicBezTo>
                    <a:cubicBezTo>
                      <a:pt x="2619221" y="2538431"/>
                      <a:pt x="2629477" y="2544300"/>
                      <a:pt x="2640772" y="2545811"/>
                    </a:cubicBezTo>
                    <a:lnTo>
                      <a:pt x="2649999" y="2808410"/>
                    </a:lnTo>
                    <a:cubicBezTo>
                      <a:pt x="2622736" y="2812347"/>
                      <a:pt x="2603826" y="2837639"/>
                      <a:pt x="2607762" y="2864902"/>
                    </a:cubicBezTo>
                    <a:cubicBezTo>
                      <a:pt x="2611698" y="2892165"/>
                      <a:pt x="2636990" y="2911076"/>
                      <a:pt x="2664254" y="2907139"/>
                    </a:cubicBezTo>
                    <a:cubicBezTo>
                      <a:pt x="2670826" y="2906190"/>
                      <a:pt x="2677144" y="2903938"/>
                      <a:pt x="2682834" y="2900515"/>
                    </a:cubicBezTo>
                    <a:cubicBezTo>
                      <a:pt x="2689557" y="2896473"/>
                      <a:pt x="2695249" y="2890924"/>
                      <a:pt x="2699460" y="2884305"/>
                    </a:cubicBezTo>
                    <a:lnTo>
                      <a:pt x="2931551" y="3007666"/>
                    </a:lnTo>
                    <a:cubicBezTo>
                      <a:pt x="2921811" y="3026611"/>
                      <a:pt x="2929272" y="3049865"/>
                      <a:pt x="2948216" y="3059606"/>
                    </a:cubicBezTo>
                    <a:cubicBezTo>
                      <a:pt x="2953356" y="3062249"/>
                      <a:pt x="2959025" y="3063703"/>
                      <a:pt x="2964802" y="3063860"/>
                    </a:cubicBezTo>
                    <a:lnTo>
                      <a:pt x="2974195" y="3330283"/>
                    </a:lnTo>
                    <a:cubicBezTo>
                      <a:pt x="2950235" y="3332899"/>
                      <a:pt x="2932932" y="3354444"/>
                      <a:pt x="2935548" y="3378404"/>
                    </a:cubicBezTo>
                    <a:cubicBezTo>
                      <a:pt x="2936240" y="3384736"/>
                      <a:pt x="2938308" y="3390839"/>
                      <a:pt x="2941610" y="3396286"/>
                    </a:cubicBezTo>
                    <a:cubicBezTo>
                      <a:pt x="2953804" y="3416970"/>
                      <a:pt x="2980457" y="3423852"/>
                      <a:pt x="3001141" y="3411658"/>
                    </a:cubicBezTo>
                    <a:cubicBezTo>
                      <a:pt x="3006885" y="3408271"/>
                      <a:pt x="3011773" y="3403610"/>
                      <a:pt x="3015427" y="3398032"/>
                    </a:cubicBezTo>
                    <a:lnTo>
                      <a:pt x="3259073" y="3527461"/>
                    </a:lnTo>
                    <a:cubicBezTo>
                      <a:pt x="3252385" y="3544564"/>
                      <a:pt x="3260828" y="3563850"/>
                      <a:pt x="3277931" y="3570538"/>
                    </a:cubicBezTo>
                    <a:cubicBezTo>
                      <a:pt x="3295034" y="3577226"/>
                      <a:pt x="3314320" y="3568782"/>
                      <a:pt x="3321008" y="3551679"/>
                    </a:cubicBezTo>
                    <a:cubicBezTo>
                      <a:pt x="3324165" y="3543605"/>
                      <a:pt x="3324044" y="3534616"/>
                      <a:pt x="3320670" y="3526630"/>
                    </a:cubicBezTo>
                    <a:lnTo>
                      <a:pt x="3561323" y="3376170"/>
                    </a:lnTo>
                    <a:cubicBezTo>
                      <a:pt x="3573410" y="3391126"/>
                      <a:pt x="3594625" y="3394980"/>
                      <a:pt x="3611200" y="3385230"/>
                    </a:cubicBezTo>
                    <a:cubicBezTo>
                      <a:pt x="3615590" y="3382612"/>
                      <a:pt x="3619407" y="3379134"/>
                      <a:pt x="3622422" y="3375006"/>
                    </a:cubicBezTo>
                    <a:lnTo>
                      <a:pt x="3864987" y="3503853"/>
                    </a:lnTo>
                    <a:cubicBezTo>
                      <a:pt x="3860863" y="3514822"/>
                      <a:pt x="3861997" y="3527077"/>
                      <a:pt x="3868063" y="3537104"/>
                    </a:cubicBezTo>
                    <a:cubicBezTo>
                      <a:pt x="3878731" y="3555595"/>
                      <a:pt x="3902370" y="3561937"/>
                      <a:pt x="3920861" y="3551269"/>
                    </a:cubicBezTo>
                    <a:cubicBezTo>
                      <a:pt x="3938107" y="3541319"/>
                      <a:pt x="3944974" y="3519897"/>
                      <a:pt x="3936726" y="3501775"/>
                    </a:cubicBezTo>
                    <a:lnTo>
                      <a:pt x="4175800" y="3352146"/>
                    </a:lnTo>
                    <a:cubicBezTo>
                      <a:pt x="4187697" y="3366135"/>
                      <a:pt x="4208683" y="3367830"/>
                      <a:pt x="4222672" y="3355933"/>
                    </a:cubicBezTo>
                    <a:cubicBezTo>
                      <a:pt x="4224388" y="3354473"/>
                      <a:pt x="4225952" y="3352842"/>
                      <a:pt x="4227339" y="3351065"/>
                    </a:cubicBezTo>
                    <a:lnTo>
                      <a:pt x="4473146" y="3481741"/>
                    </a:lnTo>
                    <a:cubicBezTo>
                      <a:pt x="4463881" y="3503942"/>
                      <a:pt x="4474368" y="3529451"/>
                      <a:pt x="4496569" y="3538716"/>
                    </a:cubicBezTo>
                    <a:cubicBezTo>
                      <a:pt x="4500759" y="3540465"/>
                      <a:pt x="4505197" y="3541548"/>
                      <a:pt x="4509722" y="3541925"/>
                    </a:cubicBezTo>
                    <a:lnTo>
                      <a:pt x="4519199" y="3809263"/>
                    </a:lnTo>
                    <a:cubicBezTo>
                      <a:pt x="4498346" y="3812879"/>
                      <a:pt x="4484373" y="3832716"/>
                      <a:pt x="4487990" y="3853569"/>
                    </a:cubicBezTo>
                    <a:cubicBezTo>
                      <a:pt x="4488696" y="3857641"/>
                      <a:pt x="4490056" y="3861571"/>
                      <a:pt x="4492017" y="3865207"/>
                    </a:cubicBezTo>
                    <a:lnTo>
                      <a:pt x="4250947" y="4016166"/>
                    </a:lnTo>
                    <a:cubicBezTo>
                      <a:pt x="4240020" y="4002863"/>
                      <a:pt x="4220377" y="4000936"/>
                      <a:pt x="4207073" y="4011863"/>
                    </a:cubicBezTo>
                    <a:cubicBezTo>
                      <a:pt x="4205066" y="4013511"/>
                      <a:pt x="4203273" y="4015404"/>
                      <a:pt x="4201736" y="4017496"/>
                    </a:cubicBezTo>
                    <a:lnTo>
                      <a:pt x="3951190" y="3884493"/>
                    </a:lnTo>
                    <a:cubicBezTo>
                      <a:pt x="3959005" y="3864626"/>
                      <a:pt x="3949235" y="3842187"/>
                      <a:pt x="3929369" y="3834372"/>
                    </a:cubicBezTo>
                    <a:cubicBezTo>
                      <a:pt x="3909502" y="3826557"/>
                      <a:pt x="3887062" y="3836327"/>
                      <a:pt x="3879248" y="3856193"/>
                    </a:cubicBezTo>
                    <a:cubicBezTo>
                      <a:pt x="3875243" y="3866374"/>
                      <a:pt x="3875740" y="3877774"/>
                      <a:pt x="3880615" y="3887568"/>
                    </a:cubicBezTo>
                    <a:lnTo>
                      <a:pt x="3641624" y="4037198"/>
                    </a:lnTo>
                    <a:cubicBezTo>
                      <a:pt x="3630377" y="4024224"/>
                      <a:pt x="3610742" y="4022824"/>
                      <a:pt x="3597768" y="4034070"/>
                    </a:cubicBezTo>
                    <a:cubicBezTo>
                      <a:pt x="3584794" y="4045317"/>
                      <a:pt x="3583394" y="4064952"/>
                      <a:pt x="3594641" y="4077926"/>
                    </a:cubicBezTo>
                    <a:cubicBezTo>
                      <a:pt x="3599516" y="4083550"/>
                      <a:pt x="3606247" y="4087239"/>
                      <a:pt x="3613610" y="4088321"/>
                    </a:cubicBezTo>
                    <a:lnTo>
                      <a:pt x="3623918" y="4381012"/>
                    </a:lnTo>
                    <a:cubicBezTo>
                      <a:pt x="3621006" y="4381728"/>
                      <a:pt x="3618208" y="4382847"/>
                      <a:pt x="3615605" y="4384337"/>
                    </a:cubicBezTo>
                    <a:cubicBezTo>
                      <a:pt x="3602720" y="4392081"/>
                      <a:pt x="3597197" y="4407917"/>
                      <a:pt x="3602471" y="4421994"/>
                    </a:cubicBezTo>
                    <a:lnTo>
                      <a:pt x="3364644" y="4570625"/>
                    </a:lnTo>
                    <a:cubicBezTo>
                      <a:pt x="3348496" y="4552608"/>
                      <a:pt x="3320800" y="4551092"/>
                      <a:pt x="3302783" y="4567240"/>
                    </a:cubicBezTo>
                    <a:cubicBezTo>
                      <a:pt x="3284765" y="4583387"/>
                      <a:pt x="3283250" y="4611084"/>
                      <a:pt x="3299397" y="4629101"/>
                    </a:cubicBezTo>
                    <a:cubicBezTo>
                      <a:pt x="3306502" y="4637029"/>
                      <a:pt x="3316251" y="4642098"/>
                      <a:pt x="3326821" y="4643362"/>
                    </a:cubicBezTo>
                    <a:lnTo>
                      <a:pt x="3335965" y="4904382"/>
                    </a:lnTo>
                    <a:cubicBezTo>
                      <a:pt x="3330224" y="4905203"/>
                      <a:pt x="3324709" y="4907183"/>
                      <a:pt x="3319755" y="4910201"/>
                    </a:cubicBezTo>
                    <a:cubicBezTo>
                      <a:pt x="3299526" y="4922309"/>
                      <a:pt x="3292570" y="4948293"/>
                      <a:pt x="3304044" y="4968889"/>
                    </a:cubicBezTo>
                    <a:lnTo>
                      <a:pt x="3068711" y="5116023"/>
                    </a:lnTo>
                    <a:cubicBezTo>
                      <a:pt x="3057985" y="5104481"/>
                      <a:pt x="3040631" y="5102051"/>
                      <a:pt x="3027148" y="5110204"/>
                    </a:cubicBezTo>
                    <a:cubicBezTo>
                      <a:pt x="3023799" y="5112272"/>
                      <a:pt x="3020843" y="5114918"/>
                      <a:pt x="3018419" y="5118018"/>
                    </a:cubicBezTo>
                    <a:lnTo>
                      <a:pt x="2780758" y="4991748"/>
                    </a:lnTo>
                    <a:cubicBezTo>
                      <a:pt x="2791047" y="4966196"/>
                      <a:pt x="2778673" y="4937141"/>
                      <a:pt x="2753121" y="4926852"/>
                    </a:cubicBezTo>
                    <a:cubicBezTo>
                      <a:pt x="2727569" y="4916563"/>
                      <a:pt x="2698514" y="4928937"/>
                      <a:pt x="2688225" y="4954489"/>
                    </a:cubicBezTo>
                    <a:cubicBezTo>
                      <a:pt x="2683214" y="4966935"/>
                      <a:pt x="2683428" y="4980875"/>
                      <a:pt x="2688819" y="4993162"/>
                    </a:cubicBezTo>
                    <a:lnTo>
                      <a:pt x="2469280" y="5130487"/>
                    </a:lnTo>
                    <a:cubicBezTo>
                      <a:pt x="2453464" y="5112239"/>
                      <a:pt x="2425849" y="5110268"/>
                      <a:pt x="2407601" y="5126084"/>
                    </a:cubicBezTo>
                    <a:cubicBezTo>
                      <a:pt x="2391532" y="5140012"/>
                      <a:pt x="2387813" y="5163481"/>
                      <a:pt x="2398789" y="5181694"/>
                    </a:cubicBezTo>
                    <a:cubicBezTo>
                      <a:pt x="2405675" y="5193178"/>
                      <a:pt x="2417494" y="5200823"/>
                      <a:pt x="2430793" y="5202393"/>
                    </a:cubicBezTo>
                    <a:lnTo>
                      <a:pt x="2440518" y="5479456"/>
                    </a:lnTo>
                    <a:cubicBezTo>
                      <a:pt x="2436531" y="5480056"/>
                      <a:pt x="2432694" y="5481410"/>
                      <a:pt x="2429213" y="5483446"/>
                    </a:cubicBezTo>
                    <a:cubicBezTo>
                      <a:pt x="2415535" y="5491627"/>
                      <a:pt x="2410287" y="5508845"/>
                      <a:pt x="2417076" y="5523264"/>
                    </a:cubicBezTo>
                    <a:lnTo>
                      <a:pt x="2178834" y="5671979"/>
                    </a:lnTo>
                    <a:cubicBezTo>
                      <a:pt x="2165255" y="5654685"/>
                      <a:pt x="2140946" y="5650165"/>
                      <a:pt x="2122058" y="5661421"/>
                    </a:cubicBezTo>
                    <a:cubicBezTo>
                      <a:pt x="2116368" y="5664869"/>
                      <a:pt x="2111559" y="5669593"/>
                      <a:pt x="2108009" y="5675220"/>
                    </a:cubicBezTo>
                    <a:lnTo>
                      <a:pt x="1874339" y="5552192"/>
                    </a:lnTo>
                    <a:cubicBezTo>
                      <a:pt x="1884215" y="5530156"/>
                      <a:pt x="1874358" y="5504285"/>
                      <a:pt x="1852321" y="5494408"/>
                    </a:cubicBezTo>
                    <a:cubicBezTo>
                      <a:pt x="1830285" y="5484531"/>
                      <a:pt x="1804414" y="5494389"/>
                      <a:pt x="1794537" y="5516425"/>
                    </a:cubicBezTo>
                    <a:cubicBezTo>
                      <a:pt x="1789215" y="5528300"/>
                      <a:pt x="1789459" y="5541928"/>
                      <a:pt x="1795201" y="5553605"/>
                    </a:cubicBezTo>
                    <a:lnTo>
                      <a:pt x="1559286" y="5702320"/>
                    </a:lnTo>
                    <a:cubicBezTo>
                      <a:pt x="1548433" y="5689134"/>
                      <a:pt x="1528945" y="5687241"/>
                      <a:pt x="1515759" y="5698094"/>
                    </a:cubicBezTo>
                    <a:cubicBezTo>
                      <a:pt x="1513286" y="5700130"/>
                      <a:pt x="1511144" y="5702537"/>
                      <a:pt x="1509410" y="5705230"/>
                    </a:cubicBezTo>
                    <a:lnTo>
                      <a:pt x="1269338" y="5578544"/>
                    </a:lnTo>
                    <a:cubicBezTo>
                      <a:pt x="1280292" y="5553269"/>
                      <a:pt x="1268682" y="5523901"/>
                      <a:pt x="1243408" y="5512947"/>
                    </a:cubicBezTo>
                    <a:cubicBezTo>
                      <a:pt x="1237829" y="5510529"/>
                      <a:pt x="1231854" y="5509152"/>
                      <a:pt x="1225780" y="5508883"/>
                    </a:cubicBezTo>
                    <a:lnTo>
                      <a:pt x="1215389" y="5236973"/>
                    </a:lnTo>
                    <a:cubicBezTo>
                      <a:pt x="1218720" y="5236260"/>
                      <a:pt x="1221918" y="5235026"/>
                      <a:pt x="1224865" y="5233316"/>
                    </a:cubicBezTo>
                    <a:cubicBezTo>
                      <a:pt x="1239717" y="5224409"/>
                      <a:pt x="1244537" y="5205149"/>
                      <a:pt x="1235630" y="5190298"/>
                    </a:cubicBezTo>
                    <a:cubicBezTo>
                      <a:pt x="1226724" y="5175446"/>
                      <a:pt x="1207464" y="5170626"/>
                      <a:pt x="1192612" y="5179533"/>
                    </a:cubicBezTo>
                    <a:cubicBezTo>
                      <a:pt x="1189031" y="5181655"/>
                      <a:pt x="1185920" y="5184483"/>
                      <a:pt x="1183468" y="5187845"/>
                    </a:cubicBezTo>
                    <a:lnTo>
                      <a:pt x="928849" y="5054177"/>
                    </a:lnTo>
                    <a:cubicBezTo>
                      <a:pt x="935761" y="5037163"/>
                      <a:pt x="927572" y="5017768"/>
                      <a:pt x="910559" y="5010855"/>
                    </a:cubicBezTo>
                    <a:cubicBezTo>
                      <a:pt x="893545" y="5003944"/>
                      <a:pt x="874150" y="5012132"/>
                      <a:pt x="867238" y="5029146"/>
                    </a:cubicBezTo>
                    <a:cubicBezTo>
                      <a:pt x="863680" y="5037903"/>
                      <a:pt x="864017" y="5047761"/>
                      <a:pt x="868166" y="5056254"/>
                    </a:cubicBezTo>
                    <a:lnTo>
                      <a:pt x="634080" y="5203806"/>
                    </a:lnTo>
                    <a:cubicBezTo>
                      <a:pt x="620202" y="5187721"/>
                      <a:pt x="596758" y="5183966"/>
                      <a:pt x="578551" y="5194911"/>
                    </a:cubicBezTo>
                    <a:cubicBezTo>
                      <a:pt x="557815" y="5207289"/>
                      <a:pt x="551040" y="5234132"/>
                      <a:pt x="563418" y="5254867"/>
                    </a:cubicBezTo>
                    <a:cubicBezTo>
                      <a:pt x="563447" y="5254916"/>
                      <a:pt x="563475" y="5254964"/>
                      <a:pt x="563505" y="5255012"/>
                    </a:cubicBezTo>
                    <a:cubicBezTo>
                      <a:pt x="570639" y="5266873"/>
                      <a:pt x="582977" y="5274646"/>
                      <a:pt x="596755" y="5275961"/>
                    </a:cubicBezTo>
                    <a:lnTo>
                      <a:pt x="607562" y="5552691"/>
                    </a:lnTo>
                    <a:cubicBezTo>
                      <a:pt x="603963" y="5553339"/>
                      <a:pt x="600504" y="5554604"/>
                      <a:pt x="597337" y="5556432"/>
                    </a:cubicBezTo>
                    <a:cubicBezTo>
                      <a:pt x="582617" y="5565339"/>
                      <a:pt x="577831" y="5584448"/>
                      <a:pt x="586614" y="5599243"/>
                    </a:cubicBezTo>
                    <a:cubicBezTo>
                      <a:pt x="595521" y="5613963"/>
                      <a:pt x="614630" y="5618749"/>
                      <a:pt x="629424" y="5609966"/>
                    </a:cubicBezTo>
                    <a:cubicBezTo>
                      <a:pt x="633005" y="5607812"/>
                      <a:pt x="636137" y="5604990"/>
                      <a:pt x="638652" y="5601653"/>
                    </a:cubicBezTo>
                    <a:lnTo>
                      <a:pt x="882879" y="5730001"/>
                    </a:lnTo>
                    <a:cubicBezTo>
                      <a:pt x="873962" y="5752344"/>
                      <a:pt x="884846" y="5777686"/>
                      <a:pt x="907189" y="5786603"/>
                    </a:cubicBezTo>
                    <a:cubicBezTo>
                      <a:pt x="911919" y="5788491"/>
                      <a:pt x="916942" y="5789534"/>
                      <a:pt x="922032" y="5789687"/>
                    </a:cubicBezTo>
                    <a:lnTo>
                      <a:pt x="932340" y="6055694"/>
                    </a:lnTo>
                    <a:cubicBezTo>
                      <a:pt x="927038" y="6056612"/>
                      <a:pt x="921942" y="6058470"/>
                      <a:pt x="917294" y="6061181"/>
                    </a:cubicBezTo>
                    <a:cubicBezTo>
                      <a:pt x="897813" y="6072889"/>
                      <a:pt x="890581" y="6097589"/>
                      <a:pt x="900669" y="6117957"/>
                    </a:cubicBezTo>
                    <a:lnTo>
                      <a:pt x="673482" y="6261351"/>
                    </a:lnTo>
                    <a:cubicBezTo>
                      <a:pt x="659999" y="6243812"/>
                      <a:pt x="635511" y="6239164"/>
                      <a:pt x="616540" y="6250545"/>
                    </a:cubicBezTo>
                    <a:cubicBezTo>
                      <a:pt x="611069" y="6253876"/>
                      <a:pt x="606389" y="6258358"/>
                      <a:pt x="602824" y="6263679"/>
                    </a:cubicBezTo>
                    <a:lnTo>
                      <a:pt x="361755" y="6136826"/>
                    </a:lnTo>
                    <a:cubicBezTo>
                      <a:pt x="365285" y="6126637"/>
                      <a:pt x="364129" y="6115408"/>
                      <a:pt x="358596" y="6106152"/>
                    </a:cubicBezTo>
                    <a:cubicBezTo>
                      <a:pt x="347974" y="6089039"/>
                      <a:pt x="325594" y="6083601"/>
                      <a:pt x="308304" y="6093933"/>
                    </a:cubicBezTo>
                    <a:cubicBezTo>
                      <a:pt x="292210" y="6103614"/>
                      <a:pt x="286037" y="6123893"/>
                      <a:pt x="294006" y="6140900"/>
                    </a:cubicBezTo>
                    <a:lnTo>
                      <a:pt x="54017" y="6292108"/>
                    </a:lnTo>
                    <a:cubicBezTo>
                      <a:pt x="43963" y="6281339"/>
                      <a:pt x="27754" y="6279053"/>
                      <a:pt x="15114" y="6286622"/>
                    </a:cubicBezTo>
                    <a:cubicBezTo>
                      <a:pt x="385" y="6295448"/>
                      <a:pt x="-4400" y="6314542"/>
                      <a:pt x="4426" y="6329271"/>
                    </a:cubicBezTo>
                    <a:cubicBezTo>
                      <a:pt x="4442" y="6329297"/>
                      <a:pt x="4458" y="6329323"/>
                      <a:pt x="4474" y="6329349"/>
                    </a:cubicBezTo>
                    <a:cubicBezTo>
                      <a:pt x="9409" y="6337092"/>
                      <a:pt x="17553" y="6342216"/>
                      <a:pt x="26669" y="6343315"/>
                    </a:cubicBezTo>
                    <a:lnTo>
                      <a:pt x="37475" y="6621126"/>
                    </a:lnTo>
                    <a:cubicBezTo>
                      <a:pt x="32408" y="6622093"/>
                      <a:pt x="27545" y="6623921"/>
                      <a:pt x="23094" y="6626529"/>
                    </a:cubicBezTo>
                    <a:cubicBezTo>
                      <a:pt x="2382" y="6639000"/>
                      <a:pt x="-4345" y="6665872"/>
                      <a:pt x="8048" y="6686630"/>
                    </a:cubicBezTo>
                    <a:cubicBezTo>
                      <a:pt x="20367" y="6707454"/>
                      <a:pt x="47234" y="6714348"/>
                      <a:pt x="68058" y="6702029"/>
                    </a:cubicBezTo>
                    <a:cubicBezTo>
                      <a:pt x="68116" y="6701995"/>
                      <a:pt x="68174" y="6701960"/>
                      <a:pt x="68232" y="6701925"/>
                    </a:cubicBezTo>
                    <a:close/>
                    <a:moveTo>
                      <a:pt x="1257700" y="6573078"/>
                    </a:moveTo>
                    <a:cubicBezTo>
                      <a:pt x="1251332" y="6573722"/>
                      <a:pt x="1245179" y="6575736"/>
                      <a:pt x="1239662" y="6578981"/>
                    </a:cubicBezTo>
                    <a:cubicBezTo>
                      <a:pt x="1219986" y="6590740"/>
                      <a:pt x="1212731" y="6615697"/>
                      <a:pt x="1223036" y="6636172"/>
                    </a:cubicBezTo>
                    <a:lnTo>
                      <a:pt x="993522" y="6781146"/>
                    </a:lnTo>
                    <a:cubicBezTo>
                      <a:pt x="982300" y="6767990"/>
                      <a:pt x="963218" y="6764862"/>
                      <a:pt x="948384" y="6773747"/>
                    </a:cubicBezTo>
                    <a:cubicBezTo>
                      <a:pt x="943766" y="6776579"/>
                      <a:pt x="939845" y="6780415"/>
                      <a:pt x="936912" y="6784969"/>
                    </a:cubicBezTo>
                    <a:lnTo>
                      <a:pt x="693516" y="6656788"/>
                    </a:lnTo>
                    <a:cubicBezTo>
                      <a:pt x="698866" y="6644041"/>
                      <a:pt x="697848" y="6629511"/>
                      <a:pt x="690772" y="6617635"/>
                    </a:cubicBezTo>
                    <a:cubicBezTo>
                      <a:pt x="683456" y="6605472"/>
                      <a:pt x="670681" y="6597627"/>
                      <a:pt x="656524" y="6596603"/>
                    </a:cubicBezTo>
                    <a:lnTo>
                      <a:pt x="646299" y="6331427"/>
                    </a:lnTo>
                    <a:cubicBezTo>
                      <a:pt x="651704" y="6330602"/>
                      <a:pt x="656898" y="6328739"/>
                      <a:pt x="661595" y="6325941"/>
                    </a:cubicBezTo>
                    <a:cubicBezTo>
                      <a:pt x="681363" y="6314173"/>
                      <a:pt x="688631" y="6289099"/>
                      <a:pt x="678220" y="6268583"/>
                    </a:cubicBezTo>
                    <a:lnTo>
                      <a:pt x="905407" y="6125355"/>
                    </a:lnTo>
                    <a:cubicBezTo>
                      <a:pt x="919736" y="6144622"/>
                      <a:pt x="946970" y="6148626"/>
                      <a:pt x="966237" y="6134297"/>
                    </a:cubicBezTo>
                    <a:cubicBezTo>
                      <a:pt x="969968" y="6131522"/>
                      <a:pt x="973231" y="6128166"/>
                      <a:pt x="975899" y="6124358"/>
                    </a:cubicBezTo>
                    <a:lnTo>
                      <a:pt x="1206328" y="6245723"/>
                    </a:lnTo>
                    <a:lnTo>
                      <a:pt x="1216636" y="6251126"/>
                    </a:lnTo>
                    <a:cubicBezTo>
                      <a:pt x="1209217" y="6269915"/>
                      <a:pt x="1218435" y="6291160"/>
                      <a:pt x="1237224" y="6298578"/>
                    </a:cubicBezTo>
                    <a:cubicBezTo>
                      <a:pt x="1240533" y="6299885"/>
                      <a:pt x="1244014" y="6300701"/>
                      <a:pt x="1247559" y="6301003"/>
                    </a:cubicBezTo>
                    <a:close/>
                    <a:moveTo>
                      <a:pt x="2193797" y="6064506"/>
                    </a:moveTo>
                    <a:cubicBezTo>
                      <a:pt x="2201165" y="6045697"/>
                      <a:pt x="2191890" y="6024477"/>
                      <a:pt x="2173081" y="6017109"/>
                    </a:cubicBezTo>
                    <a:cubicBezTo>
                      <a:pt x="2169369" y="6015655"/>
                      <a:pt x="2165443" y="6014817"/>
                      <a:pt x="2161460" y="6014629"/>
                    </a:cubicBezTo>
                    <a:lnTo>
                      <a:pt x="2151402" y="5741806"/>
                    </a:lnTo>
                    <a:cubicBezTo>
                      <a:pt x="2175104" y="5738267"/>
                      <a:pt x="2191450" y="5716184"/>
                      <a:pt x="2187911" y="5692481"/>
                    </a:cubicBezTo>
                    <a:cubicBezTo>
                      <a:pt x="2187184" y="5687610"/>
                      <a:pt x="2185632" y="5682897"/>
                      <a:pt x="2183323" y="5678546"/>
                    </a:cubicBezTo>
                    <a:lnTo>
                      <a:pt x="2421233" y="5529748"/>
                    </a:lnTo>
                    <a:cubicBezTo>
                      <a:pt x="2431056" y="5541407"/>
                      <a:pt x="2447884" y="5544224"/>
                      <a:pt x="2460968" y="5536398"/>
                    </a:cubicBezTo>
                    <a:cubicBezTo>
                      <a:pt x="2464457" y="5534247"/>
                      <a:pt x="2467481" y="5531421"/>
                      <a:pt x="2469862" y="5528085"/>
                    </a:cubicBezTo>
                    <a:lnTo>
                      <a:pt x="2714838" y="5658180"/>
                    </a:lnTo>
                    <a:cubicBezTo>
                      <a:pt x="2706538" y="5680857"/>
                      <a:pt x="2718193" y="5705969"/>
                      <a:pt x="2740870" y="5714270"/>
                    </a:cubicBezTo>
                    <a:cubicBezTo>
                      <a:pt x="2744926" y="5715754"/>
                      <a:pt x="2749180" y="5716630"/>
                      <a:pt x="2753493" y="5716868"/>
                    </a:cubicBezTo>
                    <a:lnTo>
                      <a:pt x="2763135" y="5990606"/>
                    </a:lnTo>
                    <a:cubicBezTo>
                      <a:pt x="2743144" y="5993808"/>
                      <a:pt x="2729533" y="6012610"/>
                      <a:pt x="2732735" y="6032601"/>
                    </a:cubicBezTo>
                    <a:cubicBezTo>
                      <a:pt x="2733302" y="6036143"/>
                      <a:pt x="2734387" y="6039582"/>
                      <a:pt x="2735953" y="6042810"/>
                    </a:cubicBezTo>
                    <a:lnTo>
                      <a:pt x="2493055" y="6195348"/>
                    </a:lnTo>
                    <a:cubicBezTo>
                      <a:pt x="2481011" y="6183239"/>
                      <a:pt x="2461432" y="6183186"/>
                      <a:pt x="2449323" y="6195230"/>
                    </a:cubicBezTo>
                    <a:cubicBezTo>
                      <a:pt x="2448244" y="6196303"/>
                      <a:pt x="2447246" y="6197454"/>
                      <a:pt x="2446337" y="6198673"/>
                    </a:cubicBezTo>
                    <a:close/>
                    <a:moveTo>
                      <a:pt x="3023157" y="5514286"/>
                    </a:moveTo>
                    <a:cubicBezTo>
                      <a:pt x="3036650" y="5531907"/>
                      <a:pt x="3061204" y="5536625"/>
                      <a:pt x="3080266" y="5525259"/>
                    </a:cubicBezTo>
                    <a:cubicBezTo>
                      <a:pt x="3085275" y="5522284"/>
                      <a:pt x="3089630" y="5518325"/>
                      <a:pt x="3093068" y="5513621"/>
                    </a:cubicBezTo>
                    <a:lnTo>
                      <a:pt x="3332225" y="5640723"/>
                    </a:lnTo>
                    <a:cubicBezTo>
                      <a:pt x="3324837" y="5659524"/>
                      <a:pt x="3334088" y="5680754"/>
                      <a:pt x="3352889" y="5688142"/>
                    </a:cubicBezTo>
                    <a:cubicBezTo>
                      <a:pt x="3356409" y="5689525"/>
                      <a:pt x="3360122" y="5690354"/>
                      <a:pt x="3363896" y="5690599"/>
                    </a:cubicBezTo>
                    <a:lnTo>
                      <a:pt x="3373539" y="5964420"/>
                    </a:lnTo>
                    <a:cubicBezTo>
                      <a:pt x="3368612" y="5965332"/>
                      <a:pt x="3363885" y="5967105"/>
                      <a:pt x="3359574" y="5969657"/>
                    </a:cubicBezTo>
                    <a:cubicBezTo>
                      <a:pt x="3340493" y="5981136"/>
                      <a:pt x="3333113" y="6005138"/>
                      <a:pt x="3342449" y="6025353"/>
                    </a:cubicBezTo>
                    <a:lnTo>
                      <a:pt x="3106368" y="6172987"/>
                    </a:lnTo>
                    <a:cubicBezTo>
                      <a:pt x="3096545" y="6161328"/>
                      <a:pt x="3079717" y="6158511"/>
                      <a:pt x="3066633" y="6166337"/>
                    </a:cubicBezTo>
                    <a:cubicBezTo>
                      <a:pt x="3062889" y="6168609"/>
                      <a:pt x="3059661" y="6171638"/>
                      <a:pt x="3057156" y="6175231"/>
                    </a:cubicBezTo>
                    <a:lnTo>
                      <a:pt x="2803120" y="6040565"/>
                    </a:lnTo>
                    <a:cubicBezTo>
                      <a:pt x="2807175" y="6030071"/>
                      <a:pt x="2806162" y="6018293"/>
                      <a:pt x="2800376" y="6008644"/>
                    </a:cubicBezTo>
                    <a:cubicBezTo>
                      <a:pt x="2794120" y="5998285"/>
                      <a:pt x="2783192" y="5991641"/>
                      <a:pt x="2771115" y="5990855"/>
                    </a:cubicBezTo>
                    <a:lnTo>
                      <a:pt x="2761556" y="5717117"/>
                    </a:lnTo>
                    <a:cubicBezTo>
                      <a:pt x="2785398" y="5713913"/>
                      <a:pt x="2802129" y="5691987"/>
                      <a:pt x="2798925" y="5668145"/>
                    </a:cubicBezTo>
                    <a:cubicBezTo>
                      <a:pt x="2798383" y="5664107"/>
                      <a:pt x="2797276" y="5660165"/>
                      <a:pt x="2795638" y="5656434"/>
                    </a:cubicBezTo>
                    <a:close/>
                    <a:moveTo>
                      <a:pt x="2516995" y="6580310"/>
                    </a:moveTo>
                    <a:cubicBezTo>
                      <a:pt x="2525075" y="6561746"/>
                      <a:pt x="2516575" y="6540147"/>
                      <a:pt x="2498010" y="6532068"/>
                    </a:cubicBezTo>
                    <a:cubicBezTo>
                      <a:pt x="2494148" y="6530387"/>
                      <a:pt x="2490025" y="6529384"/>
                      <a:pt x="2485823" y="6529104"/>
                    </a:cubicBezTo>
                    <a:lnTo>
                      <a:pt x="2475848" y="6248217"/>
                    </a:lnTo>
                    <a:cubicBezTo>
                      <a:pt x="2492787" y="6245706"/>
                      <a:pt x="2504484" y="6229939"/>
                      <a:pt x="2501974" y="6213000"/>
                    </a:cubicBezTo>
                    <a:cubicBezTo>
                      <a:pt x="2501432" y="6209345"/>
                      <a:pt x="2500242" y="6205816"/>
                      <a:pt x="2498458" y="6202580"/>
                    </a:cubicBezTo>
                    <a:lnTo>
                      <a:pt x="2740774" y="6051039"/>
                    </a:lnTo>
                    <a:cubicBezTo>
                      <a:pt x="2752298" y="6065156"/>
                      <a:pt x="2772427" y="6068694"/>
                      <a:pt x="2788074" y="6059352"/>
                    </a:cubicBezTo>
                    <a:cubicBezTo>
                      <a:pt x="2792761" y="6056516"/>
                      <a:pt x="2796741" y="6052650"/>
                      <a:pt x="2799711" y="6048047"/>
                    </a:cubicBezTo>
                    <a:lnTo>
                      <a:pt x="3053416" y="6182879"/>
                    </a:lnTo>
                    <a:cubicBezTo>
                      <a:pt x="3047546" y="6198820"/>
                      <a:pt x="3055710" y="6216500"/>
                      <a:pt x="3071651" y="6222369"/>
                    </a:cubicBezTo>
                    <a:cubicBezTo>
                      <a:pt x="3073658" y="6223108"/>
                      <a:pt x="3075738" y="6223636"/>
                      <a:pt x="3077855" y="6223944"/>
                    </a:cubicBezTo>
                    <a:lnTo>
                      <a:pt x="3087997" y="6511315"/>
                    </a:lnTo>
                    <a:cubicBezTo>
                      <a:pt x="3083502" y="6512052"/>
                      <a:pt x="3079187" y="6513631"/>
                      <a:pt x="3075278" y="6515970"/>
                    </a:cubicBezTo>
                    <a:cubicBezTo>
                      <a:pt x="3059686" y="6525303"/>
                      <a:pt x="3053284" y="6544650"/>
                      <a:pt x="3060232" y="6561440"/>
                    </a:cubicBezTo>
                    <a:lnTo>
                      <a:pt x="2830219" y="6705251"/>
                    </a:lnTo>
                    <a:cubicBezTo>
                      <a:pt x="2816822" y="6687341"/>
                      <a:pt x="2792053" y="6682459"/>
                      <a:pt x="2772861" y="6693945"/>
                    </a:cubicBezTo>
                    <a:cubicBezTo>
                      <a:pt x="2766877" y="6697544"/>
                      <a:pt x="2761879" y="6702571"/>
                      <a:pt x="2758314" y="6708576"/>
                    </a:cubicBezTo>
                    <a:close/>
                    <a:moveTo>
                      <a:pt x="3698816" y="6494108"/>
                    </a:moveTo>
                    <a:cubicBezTo>
                      <a:pt x="3682161" y="6497449"/>
                      <a:pt x="3671368" y="6513659"/>
                      <a:pt x="3674710" y="6530314"/>
                    </a:cubicBezTo>
                    <a:cubicBezTo>
                      <a:pt x="3675172" y="6532618"/>
                      <a:pt x="3675897" y="6534862"/>
                      <a:pt x="3676870" y="6537001"/>
                    </a:cubicBezTo>
                    <a:lnTo>
                      <a:pt x="3440789" y="6684552"/>
                    </a:lnTo>
                    <a:cubicBezTo>
                      <a:pt x="3427573" y="6665888"/>
                      <a:pt x="3402207" y="6660561"/>
                      <a:pt x="3382600" y="6672332"/>
                    </a:cubicBezTo>
                    <a:cubicBezTo>
                      <a:pt x="3376436" y="6676067"/>
                      <a:pt x="3371318" y="6681300"/>
                      <a:pt x="3367720" y="6687545"/>
                    </a:cubicBezTo>
                    <a:lnTo>
                      <a:pt x="3128480" y="6560443"/>
                    </a:lnTo>
                    <a:cubicBezTo>
                      <a:pt x="3135770" y="6541505"/>
                      <a:pt x="3126328" y="6520244"/>
                      <a:pt x="3107391" y="6512954"/>
                    </a:cubicBezTo>
                    <a:cubicBezTo>
                      <a:pt x="3103869" y="6511598"/>
                      <a:pt x="3100159" y="6510793"/>
                      <a:pt x="3096393" y="6510567"/>
                    </a:cubicBezTo>
                    <a:lnTo>
                      <a:pt x="3086251" y="6223944"/>
                    </a:lnTo>
                    <a:cubicBezTo>
                      <a:pt x="3090596" y="6223377"/>
                      <a:pt x="3094782" y="6221935"/>
                      <a:pt x="3098554" y="6219704"/>
                    </a:cubicBezTo>
                    <a:cubicBezTo>
                      <a:pt x="3112156" y="6211502"/>
                      <a:pt x="3117361" y="6194347"/>
                      <a:pt x="3110607" y="6179969"/>
                    </a:cubicBezTo>
                    <a:lnTo>
                      <a:pt x="3346439" y="6032502"/>
                    </a:lnTo>
                    <a:cubicBezTo>
                      <a:pt x="3360286" y="6052174"/>
                      <a:pt x="3387458" y="6056897"/>
                      <a:pt x="3407131" y="6043050"/>
                    </a:cubicBezTo>
                    <a:cubicBezTo>
                      <a:pt x="3411227" y="6040167"/>
                      <a:pt x="3414796" y="6036598"/>
                      <a:pt x="3417679" y="6032502"/>
                    </a:cubicBezTo>
                    <a:lnTo>
                      <a:pt x="3653096" y="6157192"/>
                    </a:lnTo>
                    <a:cubicBezTo>
                      <a:pt x="3644283" y="6179478"/>
                      <a:pt x="3655206" y="6204689"/>
                      <a:pt x="3677492" y="6213501"/>
                    </a:cubicBezTo>
                    <a:cubicBezTo>
                      <a:pt x="3681131" y="6214941"/>
                      <a:pt x="3684949" y="6215881"/>
                      <a:pt x="3688841" y="6216296"/>
                    </a:cubicBezTo>
                    <a:close/>
                    <a:moveTo>
                      <a:pt x="5161856" y="5576549"/>
                    </a:moveTo>
                    <a:cubicBezTo>
                      <a:pt x="5152249" y="5595613"/>
                      <a:pt x="5159916" y="5618856"/>
                      <a:pt x="5178981" y="5628462"/>
                    </a:cubicBezTo>
                    <a:cubicBezTo>
                      <a:pt x="5183993" y="5630988"/>
                      <a:pt x="5189496" y="5632392"/>
                      <a:pt x="5195107" y="5632576"/>
                    </a:cubicBezTo>
                    <a:lnTo>
                      <a:pt x="5204999" y="5912050"/>
                    </a:lnTo>
                    <a:cubicBezTo>
                      <a:pt x="5201059" y="5912682"/>
                      <a:pt x="5197278" y="5914065"/>
                      <a:pt x="5193860" y="5916123"/>
                    </a:cubicBezTo>
                    <a:cubicBezTo>
                      <a:pt x="5179813" y="5924509"/>
                      <a:pt x="5174188" y="5942027"/>
                      <a:pt x="5180726" y="5957022"/>
                    </a:cubicBezTo>
                    <a:lnTo>
                      <a:pt x="4940405" y="6107233"/>
                    </a:lnTo>
                    <a:cubicBezTo>
                      <a:pt x="4928793" y="6090816"/>
                      <a:pt x="4906071" y="6086921"/>
                      <a:pt x="4889654" y="6098533"/>
                    </a:cubicBezTo>
                    <a:cubicBezTo>
                      <a:pt x="4885625" y="6101382"/>
                      <a:pt x="4882218" y="6105021"/>
                      <a:pt x="4879639" y="6109228"/>
                    </a:cubicBezTo>
                    <a:lnTo>
                      <a:pt x="4627181" y="5975061"/>
                    </a:lnTo>
                    <a:cubicBezTo>
                      <a:pt x="4633951" y="5959381"/>
                      <a:pt x="4626727" y="5941183"/>
                      <a:pt x="4611048" y="5934413"/>
                    </a:cubicBezTo>
                    <a:cubicBezTo>
                      <a:pt x="4608476" y="5933303"/>
                      <a:pt x="4605766" y="5932548"/>
                      <a:pt x="4602991" y="5932167"/>
                    </a:cubicBezTo>
                    <a:lnTo>
                      <a:pt x="4593182" y="5653774"/>
                    </a:lnTo>
                    <a:cubicBezTo>
                      <a:pt x="4599062" y="5653038"/>
                      <a:pt x="4604725" y="5651084"/>
                      <a:pt x="4609808" y="5648038"/>
                    </a:cubicBezTo>
                    <a:cubicBezTo>
                      <a:pt x="4628755" y="5636579"/>
                      <a:pt x="4636146" y="5612765"/>
                      <a:pt x="4627015" y="5592592"/>
                    </a:cubicBezTo>
                    <a:lnTo>
                      <a:pt x="4862099" y="5445540"/>
                    </a:lnTo>
                    <a:cubicBezTo>
                      <a:pt x="4872134" y="5456450"/>
                      <a:pt x="4888453" y="5458812"/>
                      <a:pt x="4901169" y="5451193"/>
                    </a:cubicBezTo>
                    <a:cubicBezTo>
                      <a:pt x="4904661" y="5449015"/>
                      <a:pt x="4907707" y="5446194"/>
                      <a:pt x="4910147" y="5442880"/>
                    </a:cubicBezTo>
                    <a:close/>
                    <a:moveTo>
                      <a:pt x="4546132" y="5595169"/>
                    </a:moveTo>
                    <a:cubicBezTo>
                      <a:pt x="4541214" y="5607689"/>
                      <a:pt x="4542381" y="5621783"/>
                      <a:pt x="4549291" y="5633325"/>
                    </a:cubicBezTo>
                    <a:cubicBezTo>
                      <a:pt x="4556765" y="5645752"/>
                      <a:pt x="4569894" y="5653685"/>
                      <a:pt x="4584371" y="5654522"/>
                    </a:cubicBezTo>
                    <a:lnTo>
                      <a:pt x="4594097" y="5932333"/>
                    </a:lnTo>
                    <a:cubicBezTo>
                      <a:pt x="4590002" y="5932914"/>
                      <a:pt x="4586069" y="5934329"/>
                      <a:pt x="4582542" y="5936490"/>
                    </a:cubicBezTo>
                    <a:cubicBezTo>
                      <a:pt x="4568232" y="5945067"/>
                      <a:pt x="4563242" y="5963410"/>
                      <a:pt x="4571237" y="5978053"/>
                    </a:cubicBezTo>
                    <a:lnTo>
                      <a:pt x="4330168" y="6128846"/>
                    </a:lnTo>
                    <a:cubicBezTo>
                      <a:pt x="4319297" y="6112265"/>
                      <a:pt x="4297249" y="6107268"/>
                      <a:pt x="4280291" y="6117541"/>
                    </a:cubicBezTo>
                    <a:cubicBezTo>
                      <a:pt x="4275202" y="6120618"/>
                      <a:pt x="4270948" y="6124900"/>
                      <a:pt x="4267905" y="6130010"/>
                    </a:cubicBezTo>
                    <a:lnTo>
                      <a:pt x="4025174" y="6001080"/>
                    </a:lnTo>
                    <a:cubicBezTo>
                      <a:pt x="4032896" y="5982364"/>
                      <a:pt x="4023985" y="5960932"/>
                      <a:pt x="4005269" y="5953209"/>
                    </a:cubicBezTo>
                    <a:cubicBezTo>
                      <a:pt x="4001187" y="5951525"/>
                      <a:pt x="3996835" y="5950592"/>
                      <a:pt x="3992421" y="5950455"/>
                    </a:cubicBezTo>
                    <a:lnTo>
                      <a:pt x="3982446" y="5666908"/>
                    </a:lnTo>
                    <a:cubicBezTo>
                      <a:pt x="3985762" y="5666275"/>
                      <a:pt x="3988942" y="5665066"/>
                      <a:pt x="3991840" y="5663334"/>
                    </a:cubicBezTo>
                    <a:cubicBezTo>
                      <a:pt x="4006009" y="5654859"/>
                      <a:pt x="4011052" y="5636768"/>
                      <a:pt x="4003311" y="5622185"/>
                    </a:cubicBezTo>
                    <a:lnTo>
                      <a:pt x="4250864" y="5467403"/>
                    </a:lnTo>
                    <a:cubicBezTo>
                      <a:pt x="4260414" y="5480615"/>
                      <a:pt x="4278531" y="5484239"/>
                      <a:pt x="4292428" y="5475715"/>
                    </a:cubicBezTo>
                    <a:cubicBezTo>
                      <a:pt x="4296616" y="5473189"/>
                      <a:pt x="4300126" y="5469679"/>
                      <a:pt x="4302653" y="5465491"/>
                    </a:cubicBezTo>
                    <a:close/>
                    <a:moveTo>
                      <a:pt x="3948281" y="5622851"/>
                    </a:moveTo>
                    <a:cubicBezTo>
                      <a:pt x="3940664" y="5638239"/>
                      <a:pt x="3946963" y="5656888"/>
                      <a:pt x="3962351" y="5664506"/>
                    </a:cubicBezTo>
                    <a:cubicBezTo>
                      <a:pt x="3965981" y="5666302"/>
                      <a:pt x="3969927" y="5667373"/>
                      <a:pt x="3973967" y="5667656"/>
                    </a:cubicBezTo>
                    <a:lnTo>
                      <a:pt x="3983942" y="5951287"/>
                    </a:lnTo>
                    <a:cubicBezTo>
                      <a:pt x="3979909" y="5952094"/>
                      <a:pt x="3976034" y="5953554"/>
                      <a:pt x="3972471" y="5955609"/>
                    </a:cubicBezTo>
                    <a:cubicBezTo>
                      <a:pt x="3956819" y="5965099"/>
                      <a:pt x="3950486" y="5984627"/>
                      <a:pt x="3957591" y="6001496"/>
                    </a:cubicBezTo>
                    <a:lnTo>
                      <a:pt x="3727246" y="6145472"/>
                    </a:lnTo>
                    <a:cubicBezTo>
                      <a:pt x="3713399" y="6129128"/>
                      <a:pt x="3689751" y="6125222"/>
                      <a:pt x="3671384" y="6136245"/>
                    </a:cubicBezTo>
                    <a:cubicBezTo>
                      <a:pt x="3665792" y="6139654"/>
                      <a:pt x="3661045" y="6144287"/>
                      <a:pt x="3657502" y="6149795"/>
                    </a:cubicBezTo>
                    <a:lnTo>
                      <a:pt x="3422252" y="6025103"/>
                    </a:lnTo>
                    <a:cubicBezTo>
                      <a:pt x="3431849" y="6003093"/>
                      <a:pt x="3421786" y="5977471"/>
                      <a:pt x="3399777" y="5967874"/>
                    </a:cubicBezTo>
                    <a:cubicBezTo>
                      <a:pt x="3394126" y="5965411"/>
                      <a:pt x="3388016" y="5964176"/>
                      <a:pt x="3381852" y="5964254"/>
                    </a:cubicBezTo>
                    <a:lnTo>
                      <a:pt x="3372209" y="5690932"/>
                    </a:lnTo>
                    <a:cubicBezTo>
                      <a:pt x="3376885" y="5690244"/>
                      <a:pt x="3381378" y="5688633"/>
                      <a:pt x="3385426" y="5686194"/>
                    </a:cubicBezTo>
                    <a:cubicBezTo>
                      <a:pt x="3401403" y="5676590"/>
                      <a:pt x="3407656" y="5656543"/>
                      <a:pt x="3399973" y="5639559"/>
                    </a:cubicBezTo>
                    <a:lnTo>
                      <a:pt x="3642705" y="5487104"/>
                    </a:lnTo>
                    <a:cubicBezTo>
                      <a:pt x="3653459" y="5500312"/>
                      <a:pt x="3672884" y="5502302"/>
                      <a:pt x="3686093" y="5491549"/>
                    </a:cubicBezTo>
                    <a:cubicBezTo>
                      <a:pt x="3688130" y="5489890"/>
                      <a:pt x="3689948" y="5487977"/>
                      <a:pt x="3691501" y="5485857"/>
                    </a:cubicBezTo>
                    <a:close/>
                    <a:moveTo>
                      <a:pt x="3661076" y="5437227"/>
                    </a:moveTo>
                    <a:cubicBezTo>
                      <a:pt x="3657318" y="5437812"/>
                      <a:pt x="3653706" y="5439110"/>
                      <a:pt x="3650436" y="5441051"/>
                    </a:cubicBezTo>
                    <a:cubicBezTo>
                      <a:pt x="3636893" y="5449214"/>
                      <a:pt x="3631634" y="5466242"/>
                      <a:pt x="3638216" y="5480620"/>
                    </a:cubicBezTo>
                    <a:lnTo>
                      <a:pt x="3408452" y="5624264"/>
                    </a:lnTo>
                    <a:lnTo>
                      <a:pt x="3395734" y="5632576"/>
                    </a:lnTo>
                    <a:cubicBezTo>
                      <a:pt x="3384449" y="5617555"/>
                      <a:pt x="3363650" y="5613467"/>
                      <a:pt x="3347520" y="5623100"/>
                    </a:cubicBezTo>
                    <a:cubicBezTo>
                      <a:pt x="3342951" y="5625888"/>
                      <a:pt x="3339038" y="5629631"/>
                      <a:pt x="3336049" y="5634073"/>
                    </a:cubicBezTo>
                    <a:lnTo>
                      <a:pt x="3097307" y="5507220"/>
                    </a:lnTo>
                    <a:cubicBezTo>
                      <a:pt x="3107687" y="5485467"/>
                      <a:pt x="3098467" y="5459418"/>
                      <a:pt x="3076714" y="5449038"/>
                    </a:cubicBezTo>
                    <a:cubicBezTo>
                      <a:pt x="3071093" y="5446356"/>
                      <a:pt x="3064963" y="5444908"/>
                      <a:pt x="3058736" y="5444792"/>
                    </a:cubicBezTo>
                    <a:lnTo>
                      <a:pt x="3049176" y="5171220"/>
                    </a:lnTo>
                    <a:cubicBezTo>
                      <a:pt x="3053399" y="5170530"/>
                      <a:pt x="3057458" y="5169065"/>
                      <a:pt x="3061147" y="5166897"/>
                    </a:cubicBezTo>
                    <a:cubicBezTo>
                      <a:pt x="3076372" y="5157687"/>
                      <a:pt x="3081647" y="5138123"/>
                      <a:pt x="3073117" y="5122507"/>
                    </a:cubicBezTo>
                    <a:lnTo>
                      <a:pt x="3308450" y="4975372"/>
                    </a:lnTo>
                    <a:cubicBezTo>
                      <a:pt x="3322207" y="4991950"/>
                      <a:pt x="3346002" y="4996010"/>
                      <a:pt x="3364478" y="4984932"/>
                    </a:cubicBezTo>
                    <a:cubicBezTo>
                      <a:pt x="3369414" y="4981991"/>
                      <a:pt x="3373711" y="4978091"/>
                      <a:pt x="3377113" y="4973460"/>
                    </a:cubicBezTo>
                    <a:lnTo>
                      <a:pt x="3623170" y="5104718"/>
                    </a:lnTo>
                    <a:cubicBezTo>
                      <a:pt x="3618652" y="5114661"/>
                      <a:pt x="3619304" y="5126189"/>
                      <a:pt x="3624916" y="5135559"/>
                    </a:cubicBezTo>
                    <a:cubicBezTo>
                      <a:pt x="3630564" y="5144708"/>
                      <a:pt x="3640288" y="5150561"/>
                      <a:pt x="3651018" y="5151270"/>
                    </a:cubicBezTo>
                    <a:close/>
                    <a:moveTo>
                      <a:pt x="5125197" y="4518504"/>
                    </a:moveTo>
                    <a:cubicBezTo>
                      <a:pt x="5117036" y="4538082"/>
                      <a:pt x="5126291" y="4560568"/>
                      <a:pt x="5145869" y="4568729"/>
                    </a:cubicBezTo>
                    <a:cubicBezTo>
                      <a:pt x="5149868" y="4570397"/>
                      <a:pt x="5154122" y="4571375"/>
                      <a:pt x="5158448" y="4571623"/>
                    </a:cubicBezTo>
                    <a:lnTo>
                      <a:pt x="5168423" y="4855004"/>
                    </a:lnTo>
                    <a:cubicBezTo>
                      <a:pt x="5164353" y="4855533"/>
                      <a:pt x="5160443" y="4856921"/>
                      <a:pt x="5156951" y="4859077"/>
                    </a:cubicBezTo>
                    <a:cubicBezTo>
                      <a:pt x="5143408" y="4867240"/>
                      <a:pt x="5138149" y="4884268"/>
                      <a:pt x="5144732" y="4898646"/>
                    </a:cubicBezTo>
                    <a:lnTo>
                      <a:pt x="4909648" y="5045615"/>
                    </a:lnTo>
                    <a:cubicBezTo>
                      <a:pt x="4896298" y="5025712"/>
                      <a:pt x="4869342" y="5020400"/>
                      <a:pt x="4849440" y="5033749"/>
                    </a:cubicBezTo>
                    <a:cubicBezTo>
                      <a:pt x="4844144" y="5037302"/>
                      <a:pt x="4839696" y="5041977"/>
                      <a:pt x="4836413" y="5047444"/>
                    </a:cubicBezTo>
                    <a:lnTo>
                      <a:pt x="4593099" y="4918181"/>
                    </a:lnTo>
                    <a:cubicBezTo>
                      <a:pt x="4600273" y="4902580"/>
                      <a:pt x="4593442" y="4884119"/>
                      <a:pt x="4577842" y="4876945"/>
                    </a:cubicBezTo>
                    <a:cubicBezTo>
                      <a:pt x="4574119" y="4875233"/>
                      <a:pt x="4570094" y="4874274"/>
                      <a:pt x="4566000" y="4874123"/>
                    </a:cubicBezTo>
                    <a:lnTo>
                      <a:pt x="4555858" y="4583926"/>
                    </a:lnTo>
                    <a:cubicBezTo>
                      <a:pt x="4559100" y="4583217"/>
                      <a:pt x="4562212" y="4582011"/>
                      <a:pt x="4565085" y="4580351"/>
                    </a:cubicBezTo>
                    <a:cubicBezTo>
                      <a:pt x="4578122" y="4572486"/>
                      <a:pt x="4583569" y="4556354"/>
                      <a:pt x="4577970" y="4542196"/>
                    </a:cubicBezTo>
                    <a:lnTo>
                      <a:pt x="4816379" y="4393066"/>
                    </a:lnTo>
                    <a:cubicBezTo>
                      <a:pt x="4831408" y="4411851"/>
                      <a:pt x="4858819" y="4414895"/>
                      <a:pt x="4877604" y="4399866"/>
                    </a:cubicBezTo>
                    <a:cubicBezTo>
                      <a:pt x="4880714" y="4397378"/>
                      <a:pt x="4883469" y="4394474"/>
                      <a:pt x="4885790" y="4391237"/>
                    </a:cubicBezTo>
                    <a:close/>
                    <a:moveTo>
                      <a:pt x="4843811" y="4322324"/>
                    </a:moveTo>
                    <a:cubicBezTo>
                      <a:pt x="4838074" y="4323116"/>
                      <a:pt x="4832559" y="4325067"/>
                      <a:pt x="4827601" y="4328060"/>
                    </a:cubicBezTo>
                    <a:cubicBezTo>
                      <a:pt x="4807576" y="4340063"/>
                      <a:pt x="4800513" y="4365680"/>
                      <a:pt x="4811558" y="4386249"/>
                    </a:cubicBezTo>
                    <a:lnTo>
                      <a:pt x="4573731" y="4534964"/>
                    </a:lnTo>
                    <a:cubicBezTo>
                      <a:pt x="4563554" y="4521191"/>
                      <a:pt x="4544140" y="4518275"/>
                      <a:pt x="4530367" y="4528451"/>
                    </a:cubicBezTo>
                    <a:cubicBezTo>
                      <a:pt x="4527884" y="4530286"/>
                      <a:pt x="4525689" y="4532481"/>
                      <a:pt x="4523854" y="4534964"/>
                    </a:cubicBezTo>
                    <a:lnTo>
                      <a:pt x="4276966" y="4403789"/>
                    </a:lnTo>
                    <a:cubicBezTo>
                      <a:pt x="4285012" y="4384065"/>
                      <a:pt x="4275546" y="4361553"/>
                      <a:pt x="4255821" y="4353506"/>
                    </a:cubicBezTo>
                    <a:cubicBezTo>
                      <a:pt x="4251600" y="4351784"/>
                      <a:pt x="4247107" y="4350824"/>
                      <a:pt x="4242551" y="4350671"/>
                    </a:cubicBezTo>
                    <a:lnTo>
                      <a:pt x="4232493" y="4066209"/>
                    </a:lnTo>
                    <a:cubicBezTo>
                      <a:pt x="4236162" y="4065585"/>
                      <a:pt x="4239685" y="4064288"/>
                      <a:pt x="4242884" y="4062385"/>
                    </a:cubicBezTo>
                    <a:cubicBezTo>
                      <a:pt x="4256370" y="4054261"/>
                      <a:pt x="4261655" y="4037337"/>
                      <a:pt x="4255187" y="4022983"/>
                    </a:cubicBezTo>
                    <a:lnTo>
                      <a:pt x="4496921" y="3871857"/>
                    </a:lnTo>
                    <a:cubicBezTo>
                      <a:pt x="4510265" y="3888226"/>
                      <a:pt x="4534352" y="3890678"/>
                      <a:pt x="4550720" y="3877334"/>
                    </a:cubicBezTo>
                    <a:cubicBezTo>
                      <a:pt x="4553001" y="3875475"/>
                      <a:pt x="4555060" y="3873358"/>
                      <a:pt x="4556856" y="3871026"/>
                    </a:cubicBezTo>
                    <a:lnTo>
                      <a:pt x="4808898" y="4004944"/>
                    </a:lnTo>
                    <a:cubicBezTo>
                      <a:pt x="4803449" y="4021034"/>
                      <a:pt x="4812075" y="4038493"/>
                      <a:pt x="4828164" y="4043942"/>
                    </a:cubicBezTo>
                    <a:cubicBezTo>
                      <a:pt x="4830167" y="4044620"/>
                      <a:pt x="4832235" y="4045090"/>
                      <a:pt x="4834335" y="4045344"/>
                    </a:cubicBezTo>
                    <a:close/>
                    <a:moveTo>
                      <a:pt x="7284677" y="4242023"/>
                    </a:moveTo>
                    <a:cubicBezTo>
                      <a:pt x="7278798" y="4242426"/>
                      <a:pt x="7273100" y="4244221"/>
                      <a:pt x="7268052" y="4247260"/>
                    </a:cubicBezTo>
                    <a:cubicBezTo>
                      <a:pt x="7249939" y="4258129"/>
                      <a:pt x="7243905" y="4281524"/>
                      <a:pt x="7254502" y="4299797"/>
                    </a:cubicBezTo>
                    <a:lnTo>
                      <a:pt x="7016675" y="4448511"/>
                    </a:lnTo>
                    <a:cubicBezTo>
                      <a:pt x="7006176" y="4435569"/>
                      <a:pt x="6987173" y="4433589"/>
                      <a:pt x="6974230" y="4444088"/>
                    </a:cubicBezTo>
                    <a:cubicBezTo>
                      <a:pt x="6971421" y="4446367"/>
                      <a:pt x="6969045" y="4449132"/>
                      <a:pt x="6967214" y="4452252"/>
                    </a:cubicBezTo>
                    <a:lnTo>
                      <a:pt x="6715338" y="4318417"/>
                    </a:lnTo>
                    <a:cubicBezTo>
                      <a:pt x="6723790" y="4298913"/>
                      <a:pt x="6714831" y="4276251"/>
                      <a:pt x="6695327" y="4267799"/>
                    </a:cubicBezTo>
                    <a:cubicBezTo>
                      <a:pt x="6691314" y="4266060"/>
                      <a:pt x="6687033" y="4265018"/>
                      <a:pt x="6682669" y="4264717"/>
                    </a:cubicBezTo>
                    <a:lnTo>
                      <a:pt x="6672777" y="3983830"/>
                    </a:lnTo>
                    <a:cubicBezTo>
                      <a:pt x="6676380" y="3983153"/>
                      <a:pt x="6679839" y="3981860"/>
                      <a:pt x="6683002" y="3980006"/>
                    </a:cubicBezTo>
                    <a:cubicBezTo>
                      <a:pt x="6697055" y="3971572"/>
                      <a:pt x="6702147" y="3953676"/>
                      <a:pt x="6694640" y="3939107"/>
                    </a:cubicBezTo>
                    <a:lnTo>
                      <a:pt x="6935127" y="3788647"/>
                    </a:lnTo>
                    <a:cubicBezTo>
                      <a:pt x="6947786" y="3805608"/>
                      <a:pt x="6971799" y="3809095"/>
                      <a:pt x="6988759" y="3796436"/>
                    </a:cubicBezTo>
                    <a:cubicBezTo>
                      <a:pt x="6992264" y="3793820"/>
                      <a:pt x="6995296" y="3790623"/>
                      <a:pt x="6997722" y="3786984"/>
                    </a:cubicBezTo>
                    <a:lnTo>
                      <a:pt x="7248683" y="3919988"/>
                    </a:lnTo>
                    <a:cubicBezTo>
                      <a:pt x="7244573" y="3936565"/>
                      <a:pt x="7254679" y="3953334"/>
                      <a:pt x="7271256" y="3957444"/>
                    </a:cubicBezTo>
                    <a:cubicBezTo>
                      <a:pt x="7272309" y="3957706"/>
                      <a:pt x="7273376" y="3957911"/>
                      <a:pt x="7274452" y="3958060"/>
                    </a:cubicBezTo>
                    <a:close/>
                    <a:moveTo>
                      <a:pt x="8135817" y="3353891"/>
                    </a:moveTo>
                    <a:cubicBezTo>
                      <a:pt x="8126806" y="3376098"/>
                      <a:pt x="8137503" y="3401405"/>
                      <a:pt x="8159710" y="3410416"/>
                    </a:cubicBezTo>
                    <a:cubicBezTo>
                      <a:pt x="8163631" y="3412007"/>
                      <a:pt x="8167764" y="3413016"/>
                      <a:pt x="8171978" y="3413411"/>
                    </a:cubicBezTo>
                    <a:lnTo>
                      <a:pt x="8181454" y="3682494"/>
                    </a:lnTo>
                    <a:cubicBezTo>
                      <a:pt x="8175583" y="3682939"/>
                      <a:pt x="8169895" y="3684731"/>
                      <a:pt x="8164829" y="3687731"/>
                    </a:cubicBezTo>
                    <a:cubicBezTo>
                      <a:pt x="8146976" y="3698493"/>
                      <a:pt x="8140841" y="3721453"/>
                      <a:pt x="8150946" y="3739685"/>
                    </a:cubicBezTo>
                    <a:lnTo>
                      <a:pt x="7910542" y="3890062"/>
                    </a:lnTo>
                    <a:cubicBezTo>
                      <a:pt x="7900931" y="3877580"/>
                      <a:pt x="7883504" y="3874259"/>
                      <a:pt x="7869976" y="3882332"/>
                    </a:cubicBezTo>
                    <a:cubicBezTo>
                      <a:pt x="7866435" y="3884445"/>
                      <a:pt x="7863377" y="3887276"/>
                      <a:pt x="7860998" y="3890644"/>
                    </a:cubicBezTo>
                    <a:lnTo>
                      <a:pt x="7615274" y="3760051"/>
                    </a:lnTo>
                    <a:cubicBezTo>
                      <a:pt x="7624939" y="3737971"/>
                      <a:pt x="7614875" y="3712237"/>
                      <a:pt x="7592795" y="3702572"/>
                    </a:cubicBezTo>
                    <a:cubicBezTo>
                      <a:pt x="7588301" y="3700604"/>
                      <a:pt x="7583507" y="3699409"/>
                      <a:pt x="7578615" y="3699036"/>
                    </a:cubicBezTo>
                    <a:lnTo>
                      <a:pt x="7568806" y="3421308"/>
                    </a:lnTo>
                    <a:cubicBezTo>
                      <a:pt x="7572028" y="3420666"/>
                      <a:pt x="7575120" y="3419485"/>
                      <a:pt x="7577950" y="3417816"/>
                    </a:cubicBezTo>
                    <a:cubicBezTo>
                      <a:pt x="7591120" y="3409894"/>
                      <a:pt x="7596525" y="3393538"/>
                      <a:pt x="7590668" y="3379328"/>
                    </a:cubicBezTo>
                    <a:lnTo>
                      <a:pt x="7838388" y="3224379"/>
                    </a:lnTo>
                    <a:cubicBezTo>
                      <a:pt x="7849092" y="3237746"/>
                      <a:pt x="7868605" y="3239905"/>
                      <a:pt x="7881972" y="3229201"/>
                    </a:cubicBezTo>
                    <a:cubicBezTo>
                      <a:pt x="7884399" y="3227257"/>
                      <a:pt x="7886520" y="3224959"/>
                      <a:pt x="7888264" y="3222384"/>
                    </a:cubicBezTo>
                    <a:close/>
                    <a:moveTo>
                      <a:pt x="6958901" y="3461541"/>
                    </a:moveTo>
                    <a:cubicBezTo>
                      <a:pt x="6965946" y="3460703"/>
                      <a:pt x="6972740" y="3458410"/>
                      <a:pt x="6978852" y="3454808"/>
                    </a:cubicBezTo>
                    <a:cubicBezTo>
                      <a:pt x="7001256" y="3441303"/>
                      <a:pt x="7009420" y="3412784"/>
                      <a:pt x="6997556" y="3389470"/>
                    </a:cubicBezTo>
                    <a:lnTo>
                      <a:pt x="7221002" y="3249733"/>
                    </a:lnTo>
                    <a:cubicBezTo>
                      <a:pt x="7232849" y="3265564"/>
                      <a:pt x="7254748" y="3269872"/>
                      <a:pt x="7271709" y="3259708"/>
                    </a:cubicBezTo>
                    <a:cubicBezTo>
                      <a:pt x="7276850" y="3256613"/>
                      <a:pt x="7281182" y="3252339"/>
                      <a:pt x="7284345" y="3247239"/>
                    </a:cubicBezTo>
                    <a:lnTo>
                      <a:pt x="7533727" y="3379578"/>
                    </a:lnTo>
                    <a:cubicBezTo>
                      <a:pt x="7530077" y="3388541"/>
                      <a:pt x="7530846" y="3398698"/>
                      <a:pt x="7535805" y="3407010"/>
                    </a:cubicBezTo>
                    <a:cubicBezTo>
                      <a:pt x="7541132" y="3415839"/>
                      <a:pt x="7550451" y="3421493"/>
                      <a:pt x="7560743" y="3422139"/>
                    </a:cubicBezTo>
                    <a:lnTo>
                      <a:pt x="7570552" y="3699119"/>
                    </a:lnTo>
                    <a:cubicBezTo>
                      <a:pt x="7546660" y="3701932"/>
                      <a:pt x="7529573" y="3723581"/>
                      <a:pt x="7532386" y="3747473"/>
                    </a:cubicBezTo>
                    <a:cubicBezTo>
                      <a:pt x="7533028" y="3752926"/>
                      <a:pt x="7534696" y="3758210"/>
                      <a:pt x="7537301" y="3763044"/>
                    </a:cubicBezTo>
                    <a:lnTo>
                      <a:pt x="7304129" y="3908849"/>
                    </a:lnTo>
                    <a:cubicBezTo>
                      <a:pt x="7293977" y="3895230"/>
                      <a:pt x="7274706" y="3892420"/>
                      <a:pt x="7261087" y="3902572"/>
                    </a:cubicBezTo>
                    <a:cubicBezTo>
                      <a:pt x="7257737" y="3905070"/>
                      <a:pt x="7254931" y="3908224"/>
                      <a:pt x="7252840" y="3911842"/>
                    </a:cubicBezTo>
                    <a:lnTo>
                      <a:pt x="7002460" y="3778838"/>
                    </a:lnTo>
                    <a:cubicBezTo>
                      <a:pt x="7010109" y="3759006"/>
                      <a:pt x="7000234" y="3736727"/>
                      <a:pt x="6980401" y="3729078"/>
                    </a:cubicBezTo>
                    <a:cubicBezTo>
                      <a:pt x="6976607" y="3727614"/>
                      <a:pt x="6972605" y="3726761"/>
                      <a:pt x="6968544" y="3726551"/>
                    </a:cubicBezTo>
                    <a:close/>
                    <a:moveTo>
                      <a:pt x="6638861" y="3940936"/>
                    </a:moveTo>
                    <a:cubicBezTo>
                      <a:pt x="6631808" y="3956540"/>
                      <a:pt x="6638740" y="3974908"/>
                      <a:pt x="6654344" y="3981962"/>
                    </a:cubicBezTo>
                    <a:cubicBezTo>
                      <a:pt x="6657467" y="3983373"/>
                      <a:pt x="6660803" y="3984257"/>
                      <a:pt x="6664215" y="3984578"/>
                    </a:cubicBezTo>
                    <a:lnTo>
                      <a:pt x="6674107" y="4265133"/>
                    </a:lnTo>
                    <a:cubicBezTo>
                      <a:pt x="6669113" y="4265893"/>
                      <a:pt x="6664314" y="4267615"/>
                      <a:pt x="6659975" y="4270203"/>
                    </a:cubicBezTo>
                    <a:cubicBezTo>
                      <a:pt x="6642658" y="4280616"/>
                      <a:pt x="6636311" y="4302628"/>
                      <a:pt x="6645428" y="4320662"/>
                    </a:cubicBezTo>
                    <a:lnTo>
                      <a:pt x="6412672" y="4465968"/>
                    </a:lnTo>
                    <a:cubicBezTo>
                      <a:pt x="6400451" y="4448744"/>
                      <a:pt x="6376582" y="4444689"/>
                      <a:pt x="6359358" y="4456909"/>
                    </a:cubicBezTo>
                    <a:cubicBezTo>
                      <a:pt x="6354848" y="4460109"/>
                      <a:pt x="6351086" y="4464249"/>
                      <a:pt x="6348331" y="4469044"/>
                    </a:cubicBezTo>
                    <a:lnTo>
                      <a:pt x="6111585" y="4342857"/>
                    </a:lnTo>
                    <a:cubicBezTo>
                      <a:pt x="6121410" y="4320948"/>
                      <a:pt x="6111614" y="4295223"/>
                      <a:pt x="6089705" y="4285398"/>
                    </a:cubicBezTo>
                    <a:cubicBezTo>
                      <a:pt x="6084167" y="4282914"/>
                      <a:pt x="6078169" y="4281617"/>
                      <a:pt x="6072100" y="4281592"/>
                    </a:cubicBezTo>
                    <a:lnTo>
                      <a:pt x="6062291" y="4002533"/>
                    </a:lnTo>
                    <a:cubicBezTo>
                      <a:pt x="6066447" y="4001991"/>
                      <a:pt x="6070442" y="4000575"/>
                      <a:pt x="6074011" y="3998377"/>
                    </a:cubicBezTo>
                    <a:cubicBezTo>
                      <a:pt x="6087522" y="3990402"/>
                      <a:pt x="6092947" y="3973592"/>
                      <a:pt x="6086647" y="3959224"/>
                    </a:cubicBezTo>
                    <a:lnTo>
                      <a:pt x="6316826" y="3815248"/>
                    </a:lnTo>
                    <a:cubicBezTo>
                      <a:pt x="6333710" y="3837012"/>
                      <a:pt x="6365042" y="3840969"/>
                      <a:pt x="6386807" y="3824084"/>
                    </a:cubicBezTo>
                    <a:cubicBezTo>
                      <a:pt x="6391087" y="3820764"/>
                      <a:pt x="6394797" y="3816769"/>
                      <a:pt x="6397793" y="3812255"/>
                    </a:cubicBezTo>
                    <a:close/>
                    <a:moveTo>
                      <a:pt x="6350244" y="3735612"/>
                    </a:moveTo>
                    <a:cubicBezTo>
                      <a:pt x="6322886" y="3738826"/>
                      <a:pt x="6303314" y="3763610"/>
                      <a:pt x="6306528" y="3790967"/>
                    </a:cubicBezTo>
                    <a:cubicBezTo>
                      <a:pt x="6307257" y="3797168"/>
                      <a:pt x="6309143" y="3803176"/>
                      <a:pt x="6312088" y="3808681"/>
                    </a:cubicBezTo>
                    <a:lnTo>
                      <a:pt x="6082075" y="3952491"/>
                    </a:lnTo>
                    <a:cubicBezTo>
                      <a:pt x="6072351" y="3940482"/>
                      <a:pt x="6055284" y="3937437"/>
                      <a:pt x="6042008" y="3945342"/>
                    </a:cubicBezTo>
                    <a:cubicBezTo>
                      <a:pt x="6037969" y="3947762"/>
                      <a:pt x="6034553" y="3951092"/>
                      <a:pt x="6032032" y="3955068"/>
                    </a:cubicBezTo>
                    <a:lnTo>
                      <a:pt x="5786059" y="3824392"/>
                    </a:lnTo>
                    <a:cubicBezTo>
                      <a:pt x="5795921" y="3802399"/>
                      <a:pt x="5786086" y="3776576"/>
                      <a:pt x="5764093" y="3766714"/>
                    </a:cubicBezTo>
                    <a:cubicBezTo>
                      <a:pt x="5759219" y="3764529"/>
                      <a:pt x="5753985" y="3763257"/>
                      <a:pt x="5748652" y="3762961"/>
                    </a:cubicBezTo>
                    <a:lnTo>
                      <a:pt x="5739009" y="3489306"/>
                    </a:lnTo>
                    <a:cubicBezTo>
                      <a:pt x="5760106" y="3488364"/>
                      <a:pt x="5776445" y="3470497"/>
                      <a:pt x="5775504" y="3449400"/>
                    </a:cubicBezTo>
                    <a:cubicBezTo>
                      <a:pt x="5775291" y="3444640"/>
                      <a:pt x="5774191" y="3439961"/>
                      <a:pt x="5772259" y="3435606"/>
                    </a:cubicBezTo>
                    <a:lnTo>
                      <a:pt x="5997867" y="3294289"/>
                    </a:lnTo>
                    <a:cubicBezTo>
                      <a:pt x="6011366" y="3311754"/>
                      <a:pt x="6035794" y="3316361"/>
                      <a:pt x="6054726" y="3305013"/>
                    </a:cubicBezTo>
                    <a:cubicBezTo>
                      <a:pt x="6060047" y="3301785"/>
                      <a:pt x="6064634" y="3297482"/>
                      <a:pt x="6068193" y="3292377"/>
                    </a:cubicBezTo>
                    <a:lnTo>
                      <a:pt x="6314083" y="3422970"/>
                    </a:lnTo>
                    <a:cubicBezTo>
                      <a:pt x="6308210" y="3439056"/>
                      <a:pt x="6316488" y="3456857"/>
                      <a:pt x="6332574" y="3462731"/>
                    </a:cubicBezTo>
                    <a:cubicBezTo>
                      <a:pt x="6335290" y="3463723"/>
                      <a:pt x="6338132" y="3464329"/>
                      <a:pt x="6341017" y="3464534"/>
                    </a:cubicBezTo>
                    <a:close/>
                    <a:moveTo>
                      <a:pt x="7533892" y="2646645"/>
                    </a:moveTo>
                    <a:cubicBezTo>
                      <a:pt x="7512700" y="2649218"/>
                      <a:pt x="7497606" y="2668484"/>
                      <a:pt x="7500180" y="2689676"/>
                    </a:cubicBezTo>
                    <a:cubicBezTo>
                      <a:pt x="7500749" y="2694366"/>
                      <a:pt x="7502174" y="2698912"/>
                      <a:pt x="7504382" y="2703088"/>
                    </a:cubicBezTo>
                    <a:lnTo>
                      <a:pt x="7276863" y="2845402"/>
                    </a:lnTo>
                    <a:cubicBezTo>
                      <a:pt x="7261048" y="2826873"/>
                      <a:pt x="7234161" y="2822480"/>
                      <a:pt x="7213270" y="2835011"/>
                    </a:cubicBezTo>
                    <a:cubicBezTo>
                      <a:pt x="7208093" y="2838085"/>
                      <a:pt x="7203551" y="2842120"/>
                      <a:pt x="7199887" y="2846898"/>
                    </a:cubicBezTo>
                    <a:lnTo>
                      <a:pt x="6961645" y="2720295"/>
                    </a:lnTo>
                    <a:cubicBezTo>
                      <a:pt x="6969636" y="2703761"/>
                      <a:pt x="6962711" y="2683880"/>
                      <a:pt x="6946176" y="2675888"/>
                    </a:cubicBezTo>
                    <a:cubicBezTo>
                      <a:pt x="6941845" y="2673795"/>
                      <a:pt x="6937111" y="2672666"/>
                      <a:pt x="6932300" y="2672580"/>
                    </a:cubicBezTo>
                    <a:lnTo>
                      <a:pt x="6922491" y="2394353"/>
                    </a:lnTo>
                    <a:cubicBezTo>
                      <a:pt x="6927640" y="2393642"/>
                      <a:pt x="6932590" y="2391888"/>
                      <a:pt x="6937039" y="2389200"/>
                    </a:cubicBezTo>
                    <a:cubicBezTo>
                      <a:pt x="6954886" y="2378528"/>
                      <a:pt x="6961124" y="2355669"/>
                      <a:pt x="6951170" y="2337411"/>
                    </a:cubicBezTo>
                    <a:lnTo>
                      <a:pt x="7174783" y="2197591"/>
                    </a:lnTo>
                    <a:cubicBezTo>
                      <a:pt x="7190032" y="2218323"/>
                      <a:pt x="7218551" y="2224048"/>
                      <a:pt x="7240620" y="2210808"/>
                    </a:cubicBezTo>
                    <a:cubicBezTo>
                      <a:pt x="7247119" y="2206836"/>
                      <a:pt x="7252656" y="2201470"/>
                      <a:pt x="7256830" y="2195097"/>
                    </a:cubicBezTo>
                    <a:lnTo>
                      <a:pt x="7481273" y="2314385"/>
                    </a:lnTo>
                    <a:cubicBezTo>
                      <a:pt x="7470309" y="2339655"/>
                      <a:pt x="7481906" y="2369028"/>
                      <a:pt x="7507175" y="2379993"/>
                    </a:cubicBezTo>
                    <a:cubicBezTo>
                      <a:pt x="7512635" y="2382361"/>
                      <a:pt x="7518473" y="2383734"/>
                      <a:pt x="7524416" y="2384045"/>
                    </a:cubicBezTo>
                    <a:close/>
                    <a:moveTo>
                      <a:pt x="9005245" y="1741139"/>
                    </a:moveTo>
                    <a:cubicBezTo>
                      <a:pt x="8998251" y="1756821"/>
                      <a:pt x="9005294" y="1775202"/>
                      <a:pt x="9020975" y="1782196"/>
                    </a:cubicBezTo>
                    <a:cubicBezTo>
                      <a:pt x="9024153" y="1783613"/>
                      <a:pt x="9027547" y="1784487"/>
                      <a:pt x="9031014" y="1784781"/>
                    </a:cubicBezTo>
                    <a:lnTo>
                      <a:pt x="9040491" y="2053033"/>
                    </a:lnTo>
                    <a:cubicBezTo>
                      <a:pt x="9013032" y="2055214"/>
                      <a:pt x="8992540" y="2079243"/>
                      <a:pt x="8994722" y="2106703"/>
                    </a:cubicBezTo>
                    <a:cubicBezTo>
                      <a:pt x="8995314" y="2114158"/>
                      <a:pt x="8997575" y="2121384"/>
                      <a:pt x="9001338" y="2127847"/>
                    </a:cubicBezTo>
                    <a:lnTo>
                      <a:pt x="8771325" y="2271741"/>
                    </a:lnTo>
                    <a:cubicBezTo>
                      <a:pt x="8762185" y="2258063"/>
                      <a:pt x="8743990" y="2253842"/>
                      <a:pt x="8729761" y="2262098"/>
                    </a:cubicBezTo>
                    <a:cubicBezTo>
                      <a:pt x="8725709" y="2264599"/>
                      <a:pt x="8722272" y="2267980"/>
                      <a:pt x="8719703" y="2271990"/>
                    </a:cubicBezTo>
                    <a:lnTo>
                      <a:pt x="8482957" y="2145387"/>
                    </a:lnTo>
                    <a:cubicBezTo>
                      <a:pt x="8494985" y="2120606"/>
                      <a:pt x="8484648" y="2090766"/>
                      <a:pt x="8459867" y="2078737"/>
                    </a:cubicBezTo>
                    <a:cubicBezTo>
                      <a:pt x="8452998" y="2075403"/>
                      <a:pt x="8445454" y="2073690"/>
                      <a:pt x="8437819" y="2073731"/>
                    </a:cubicBezTo>
                    <a:lnTo>
                      <a:pt x="8428342" y="1804565"/>
                    </a:lnTo>
                    <a:cubicBezTo>
                      <a:pt x="8445224" y="1801984"/>
                      <a:pt x="8456817" y="1786206"/>
                      <a:pt x="8454236" y="1769323"/>
                    </a:cubicBezTo>
                    <a:cubicBezTo>
                      <a:pt x="8453726" y="1765986"/>
                      <a:pt x="8452673" y="1762756"/>
                      <a:pt x="8451119" y="1759760"/>
                    </a:cubicBezTo>
                    <a:lnTo>
                      <a:pt x="8682711" y="1615035"/>
                    </a:lnTo>
                    <a:cubicBezTo>
                      <a:pt x="8698947" y="1637288"/>
                      <a:pt x="8730148" y="1642166"/>
                      <a:pt x="8752400" y="1625930"/>
                    </a:cubicBezTo>
                    <a:cubicBezTo>
                      <a:pt x="8757314" y="1622345"/>
                      <a:pt x="8761530" y="1617892"/>
                      <a:pt x="8764840" y="1612791"/>
                    </a:cubicBezTo>
                    <a:close/>
                    <a:moveTo>
                      <a:pt x="8395091" y="1762918"/>
                    </a:moveTo>
                    <a:cubicBezTo>
                      <a:pt x="8391290" y="1771962"/>
                      <a:pt x="8392032" y="1782276"/>
                      <a:pt x="8397086" y="1790683"/>
                    </a:cubicBezTo>
                    <a:cubicBezTo>
                      <a:pt x="8402103" y="1798998"/>
                      <a:pt x="8410709" y="1804499"/>
                      <a:pt x="8420362" y="1805563"/>
                    </a:cubicBezTo>
                    <a:lnTo>
                      <a:pt x="8429921" y="2075477"/>
                    </a:lnTo>
                    <a:cubicBezTo>
                      <a:pt x="8402791" y="2080242"/>
                      <a:pt x="8384660" y="2106099"/>
                      <a:pt x="8389425" y="2133230"/>
                    </a:cubicBezTo>
                    <a:cubicBezTo>
                      <a:pt x="8390269" y="2138036"/>
                      <a:pt x="8391814" y="2142692"/>
                      <a:pt x="8394010" y="2147050"/>
                    </a:cubicBezTo>
                    <a:lnTo>
                      <a:pt x="8161254" y="2292855"/>
                    </a:lnTo>
                    <a:cubicBezTo>
                      <a:pt x="8151214" y="2279153"/>
                      <a:pt x="8131967" y="2276184"/>
                      <a:pt x="8118265" y="2286224"/>
                    </a:cubicBezTo>
                    <a:cubicBezTo>
                      <a:pt x="8115291" y="2288403"/>
                      <a:pt x="8112733" y="2291100"/>
                      <a:pt x="8110713" y="2294185"/>
                    </a:cubicBezTo>
                    <a:lnTo>
                      <a:pt x="7871639" y="2167083"/>
                    </a:lnTo>
                    <a:cubicBezTo>
                      <a:pt x="7882913" y="2141950"/>
                      <a:pt x="7871679" y="2112436"/>
                      <a:pt x="7846546" y="2101162"/>
                    </a:cubicBezTo>
                    <a:cubicBezTo>
                      <a:pt x="7840801" y="2098584"/>
                      <a:pt x="7834620" y="2097118"/>
                      <a:pt x="7828329" y="2096841"/>
                    </a:cubicBezTo>
                    <a:lnTo>
                      <a:pt x="7818770" y="1824599"/>
                    </a:lnTo>
                    <a:cubicBezTo>
                      <a:pt x="7822638" y="1823944"/>
                      <a:pt x="7826356" y="1822592"/>
                      <a:pt x="7829743" y="1820609"/>
                    </a:cubicBezTo>
                    <a:cubicBezTo>
                      <a:pt x="7843099" y="1812505"/>
                      <a:pt x="7848394" y="1795767"/>
                      <a:pt x="7842128" y="1781456"/>
                    </a:cubicBezTo>
                    <a:lnTo>
                      <a:pt x="8084777" y="1629749"/>
                    </a:lnTo>
                    <a:cubicBezTo>
                      <a:pt x="8095957" y="1644044"/>
                      <a:pt x="8116060" y="1647722"/>
                      <a:pt x="8131578" y="1638311"/>
                    </a:cubicBezTo>
                    <a:cubicBezTo>
                      <a:pt x="8135980" y="1635699"/>
                      <a:pt x="8139754" y="1632152"/>
                      <a:pt x="8142634" y="1627920"/>
                    </a:cubicBezTo>
                    <a:close/>
                    <a:moveTo>
                      <a:pt x="7455919" y="258398"/>
                    </a:moveTo>
                    <a:cubicBezTo>
                      <a:pt x="7477057" y="255411"/>
                      <a:pt x="7491772" y="235854"/>
                      <a:pt x="7488785" y="214716"/>
                    </a:cubicBezTo>
                    <a:cubicBezTo>
                      <a:pt x="7488176" y="210409"/>
                      <a:pt x="7486845" y="206235"/>
                      <a:pt x="7484847" y="202370"/>
                    </a:cubicBezTo>
                    <a:lnTo>
                      <a:pt x="7726499" y="51245"/>
                    </a:lnTo>
                    <a:cubicBezTo>
                      <a:pt x="7737452" y="64408"/>
                      <a:pt x="7757003" y="66199"/>
                      <a:pt x="7770165" y="55245"/>
                    </a:cubicBezTo>
                    <a:cubicBezTo>
                      <a:pt x="7771946" y="53764"/>
                      <a:pt x="7773555" y="52087"/>
                      <a:pt x="7774962" y="50247"/>
                    </a:cubicBezTo>
                    <a:lnTo>
                      <a:pt x="8031825" y="186410"/>
                    </a:lnTo>
                    <a:cubicBezTo>
                      <a:pt x="8027664" y="195696"/>
                      <a:pt x="8028285" y="206427"/>
                      <a:pt x="8033488" y="215172"/>
                    </a:cubicBezTo>
                    <a:cubicBezTo>
                      <a:pt x="8038770" y="224033"/>
                      <a:pt x="8048124" y="229676"/>
                      <a:pt x="8058426" y="230218"/>
                    </a:cubicBezTo>
                    <a:lnTo>
                      <a:pt x="8068318" y="510523"/>
                    </a:lnTo>
                    <a:cubicBezTo>
                      <a:pt x="8047170" y="512665"/>
                      <a:pt x="8031763" y="531545"/>
                      <a:pt x="8033905" y="552694"/>
                    </a:cubicBezTo>
                    <a:cubicBezTo>
                      <a:pt x="8034420" y="557784"/>
                      <a:pt x="8035946" y="562722"/>
                      <a:pt x="8038392" y="567216"/>
                    </a:cubicBezTo>
                    <a:lnTo>
                      <a:pt x="7797323" y="717842"/>
                    </a:lnTo>
                    <a:cubicBezTo>
                      <a:pt x="7787608" y="705719"/>
                      <a:pt x="7770449" y="702599"/>
                      <a:pt x="7757089" y="710527"/>
                    </a:cubicBezTo>
                    <a:cubicBezTo>
                      <a:pt x="7753907" y="712489"/>
                      <a:pt x="7751094" y="714993"/>
                      <a:pt x="7748776" y="717926"/>
                    </a:cubicBezTo>
                    <a:lnTo>
                      <a:pt x="7492246" y="581597"/>
                    </a:lnTo>
                    <a:cubicBezTo>
                      <a:pt x="7495314" y="572946"/>
                      <a:pt x="7494369" y="563379"/>
                      <a:pt x="7489669" y="555495"/>
                    </a:cubicBezTo>
                    <a:cubicBezTo>
                      <a:pt x="7484555" y="547121"/>
                      <a:pt x="7475822" y="541617"/>
                      <a:pt x="7466061" y="540615"/>
                    </a:cubicBezTo>
                    <a:close/>
                    <a:moveTo>
                      <a:pt x="7169546" y="790413"/>
                    </a:moveTo>
                    <a:cubicBezTo>
                      <a:pt x="7173325" y="789761"/>
                      <a:pt x="7176957" y="788438"/>
                      <a:pt x="7180269" y="786506"/>
                    </a:cubicBezTo>
                    <a:cubicBezTo>
                      <a:pt x="7194198" y="778145"/>
                      <a:pt x="7199342" y="760469"/>
                      <a:pt x="7192073" y="745939"/>
                    </a:cubicBezTo>
                    <a:lnTo>
                      <a:pt x="7438795" y="591655"/>
                    </a:lnTo>
                    <a:cubicBezTo>
                      <a:pt x="7449497" y="604906"/>
                      <a:pt x="7468914" y="606971"/>
                      <a:pt x="7482165" y="596269"/>
                    </a:cubicBezTo>
                    <a:cubicBezTo>
                      <a:pt x="7484430" y="594439"/>
                      <a:pt x="7486425" y="592298"/>
                      <a:pt x="7488089" y="589910"/>
                    </a:cubicBezTo>
                    <a:lnTo>
                      <a:pt x="7744122" y="725906"/>
                    </a:lnTo>
                    <a:cubicBezTo>
                      <a:pt x="7737551" y="741670"/>
                      <a:pt x="7745004" y="759775"/>
                      <a:pt x="7760768" y="766346"/>
                    </a:cubicBezTo>
                    <a:cubicBezTo>
                      <a:pt x="7764296" y="767816"/>
                      <a:pt x="7768065" y="768620"/>
                      <a:pt x="7771886" y="768716"/>
                    </a:cubicBezTo>
                    <a:lnTo>
                      <a:pt x="7781944" y="1053344"/>
                    </a:lnTo>
                    <a:cubicBezTo>
                      <a:pt x="7777189" y="1054030"/>
                      <a:pt x="7772614" y="1055640"/>
                      <a:pt x="7768478" y="1058082"/>
                    </a:cubicBezTo>
                    <a:cubicBezTo>
                      <a:pt x="7752485" y="1067790"/>
                      <a:pt x="7746595" y="1088132"/>
                      <a:pt x="7754928" y="1104883"/>
                    </a:cubicBezTo>
                    <a:lnTo>
                      <a:pt x="7511282" y="1257172"/>
                    </a:lnTo>
                    <a:cubicBezTo>
                      <a:pt x="7501263" y="1246682"/>
                      <a:pt x="7485308" y="1244541"/>
                      <a:pt x="7472877" y="1252018"/>
                    </a:cubicBezTo>
                    <a:cubicBezTo>
                      <a:pt x="7469993" y="1253751"/>
                      <a:pt x="7467433" y="1255973"/>
                      <a:pt x="7465313" y="1258585"/>
                    </a:cubicBezTo>
                    <a:lnTo>
                      <a:pt x="7212523" y="1124252"/>
                    </a:lnTo>
                    <a:cubicBezTo>
                      <a:pt x="7219881" y="1104310"/>
                      <a:pt x="7209680" y="1082178"/>
                      <a:pt x="7189738" y="1074820"/>
                    </a:cubicBezTo>
                    <a:cubicBezTo>
                      <a:pt x="7186372" y="1073578"/>
                      <a:pt x="7182849" y="1072813"/>
                      <a:pt x="7179272" y="1072547"/>
                    </a:cubicBezTo>
                    <a:close/>
                    <a:moveTo>
                      <a:pt x="6311090" y="1682036"/>
                    </a:moveTo>
                    <a:cubicBezTo>
                      <a:pt x="6318090" y="1666307"/>
                      <a:pt x="6311013" y="1647881"/>
                      <a:pt x="6295284" y="1640882"/>
                    </a:cubicBezTo>
                    <a:cubicBezTo>
                      <a:pt x="6291770" y="1639318"/>
                      <a:pt x="6287998" y="1638418"/>
                      <a:pt x="6284157" y="1638228"/>
                    </a:cubicBezTo>
                    <a:lnTo>
                      <a:pt x="6274265" y="1356426"/>
                    </a:lnTo>
                    <a:cubicBezTo>
                      <a:pt x="6279627" y="1355847"/>
                      <a:pt x="6284794" y="1354087"/>
                      <a:pt x="6289394" y="1351272"/>
                    </a:cubicBezTo>
                    <a:cubicBezTo>
                      <a:pt x="6306451" y="1340950"/>
                      <a:pt x="6312859" y="1319349"/>
                      <a:pt x="6304191" y="1301396"/>
                    </a:cubicBezTo>
                    <a:lnTo>
                      <a:pt x="6543515" y="1151767"/>
                    </a:lnTo>
                    <a:cubicBezTo>
                      <a:pt x="6552986" y="1164636"/>
                      <a:pt x="6570670" y="1168230"/>
                      <a:pt x="6584413" y="1160080"/>
                    </a:cubicBezTo>
                    <a:cubicBezTo>
                      <a:pt x="6588400" y="1157695"/>
                      <a:pt x="6591786" y="1154424"/>
                      <a:pt x="6594305" y="1150520"/>
                    </a:cubicBezTo>
                    <a:lnTo>
                      <a:pt x="6833961" y="1277538"/>
                    </a:lnTo>
                    <a:cubicBezTo>
                      <a:pt x="6822473" y="1302575"/>
                      <a:pt x="6833456" y="1332183"/>
                      <a:pt x="6858492" y="1343671"/>
                    </a:cubicBezTo>
                    <a:cubicBezTo>
                      <a:pt x="6864043" y="1346218"/>
                      <a:pt x="6870013" y="1347723"/>
                      <a:pt x="6876107" y="1348114"/>
                    </a:cubicBezTo>
                    <a:lnTo>
                      <a:pt x="6885334" y="1610131"/>
                    </a:lnTo>
                    <a:cubicBezTo>
                      <a:pt x="6880165" y="1610867"/>
                      <a:pt x="6875193" y="1612618"/>
                      <a:pt x="6870703" y="1615284"/>
                    </a:cubicBezTo>
                    <a:cubicBezTo>
                      <a:pt x="6853180" y="1625868"/>
                      <a:pt x="6846886" y="1648240"/>
                      <a:pt x="6856322" y="1666408"/>
                    </a:cubicBezTo>
                    <a:lnTo>
                      <a:pt x="6616916" y="1816037"/>
                    </a:lnTo>
                    <a:cubicBezTo>
                      <a:pt x="6607160" y="1804171"/>
                      <a:pt x="6590188" y="1801236"/>
                      <a:pt x="6577015" y="1809137"/>
                    </a:cubicBezTo>
                    <a:cubicBezTo>
                      <a:pt x="6573152" y="1811455"/>
                      <a:pt x="6569857" y="1814608"/>
                      <a:pt x="6567372" y="1818364"/>
                    </a:cubicBezTo>
                    <a:close/>
                    <a:moveTo>
                      <a:pt x="6926232" y="1663748"/>
                    </a:moveTo>
                    <a:cubicBezTo>
                      <a:pt x="6934667" y="1644187"/>
                      <a:pt x="6925648" y="1621491"/>
                      <a:pt x="6906087" y="1613056"/>
                    </a:cubicBezTo>
                    <a:cubicBezTo>
                      <a:pt x="6902293" y="1611420"/>
                      <a:pt x="6898261" y="1610404"/>
                      <a:pt x="6894145" y="1610047"/>
                    </a:cubicBezTo>
                    <a:lnTo>
                      <a:pt x="6884669" y="1347864"/>
                    </a:lnTo>
                    <a:cubicBezTo>
                      <a:pt x="6912027" y="1344661"/>
                      <a:pt x="6931610" y="1319885"/>
                      <a:pt x="6928406" y="1292526"/>
                    </a:cubicBezTo>
                    <a:cubicBezTo>
                      <a:pt x="6927657" y="1286130"/>
                      <a:pt x="6925677" y="1279939"/>
                      <a:pt x="6922575" y="1274296"/>
                    </a:cubicBezTo>
                    <a:lnTo>
                      <a:pt x="7145605" y="1134726"/>
                    </a:lnTo>
                    <a:cubicBezTo>
                      <a:pt x="7157583" y="1149833"/>
                      <a:pt x="7178861" y="1153805"/>
                      <a:pt x="7195482" y="1144036"/>
                    </a:cubicBezTo>
                    <a:cubicBezTo>
                      <a:pt x="7200399" y="1141081"/>
                      <a:pt x="7204578" y="1137044"/>
                      <a:pt x="7207701" y="1132232"/>
                    </a:cubicBezTo>
                    <a:lnTo>
                      <a:pt x="7459660" y="1266067"/>
                    </a:lnTo>
                    <a:cubicBezTo>
                      <a:pt x="7452807" y="1281760"/>
                      <a:pt x="7459973" y="1300038"/>
                      <a:pt x="7475666" y="1306891"/>
                    </a:cubicBezTo>
                    <a:cubicBezTo>
                      <a:pt x="7478790" y="1308255"/>
                      <a:pt x="7482116" y="1309094"/>
                      <a:pt x="7485513" y="1309376"/>
                    </a:cubicBezTo>
                    <a:lnTo>
                      <a:pt x="7494906" y="1577794"/>
                    </a:lnTo>
                    <a:cubicBezTo>
                      <a:pt x="7488044" y="1578636"/>
                      <a:pt x="7481441" y="1580932"/>
                      <a:pt x="7475537" y="1584527"/>
                    </a:cubicBezTo>
                    <a:cubicBezTo>
                      <a:pt x="7452834" y="1598181"/>
                      <a:pt x="7444767" y="1627202"/>
                      <a:pt x="7457166" y="1650614"/>
                    </a:cubicBezTo>
                    <a:lnTo>
                      <a:pt x="7226239" y="1795421"/>
                    </a:lnTo>
                    <a:cubicBezTo>
                      <a:pt x="7216812" y="1782657"/>
                      <a:pt x="7199270" y="1779070"/>
                      <a:pt x="7185589" y="1787108"/>
                    </a:cubicBezTo>
                    <a:cubicBezTo>
                      <a:pt x="7181776" y="1789390"/>
                      <a:pt x="7178512" y="1792484"/>
                      <a:pt x="7176030" y="1796169"/>
                    </a:cubicBezTo>
                    <a:close/>
                    <a:moveTo>
                      <a:pt x="7207452" y="1844716"/>
                    </a:moveTo>
                    <a:cubicBezTo>
                      <a:pt x="7211051" y="1844068"/>
                      <a:pt x="7214510" y="1842803"/>
                      <a:pt x="7217676" y="1840975"/>
                    </a:cubicBezTo>
                    <a:cubicBezTo>
                      <a:pt x="7230775" y="1833036"/>
                      <a:pt x="7236166" y="1816758"/>
                      <a:pt x="7230395" y="1802570"/>
                    </a:cubicBezTo>
                    <a:lnTo>
                      <a:pt x="7462320" y="1657596"/>
                    </a:lnTo>
                    <a:cubicBezTo>
                      <a:pt x="7477728" y="1677696"/>
                      <a:pt x="7505753" y="1683058"/>
                      <a:pt x="7527492" y="1670065"/>
                    </a:cubicBezTo>
                    <a:cubicBezTo>
                      <a:pt x="7533712" y="1666288"/>
                      <a:pt x="7539043" y="1661213"/>
                      <a:pt x="7543120" y="1655186"/>
                    </a:cubicBezTo>
                    <a:lnTo>
                      <a:pt x="7783690" y="1783035"/>
                    </a:lnTo>
                    <a:cubicBezTo>
                      <a:pt x="7780631" y="1791715"/>
                      <a:pt x="7781575" y="1801304"/>
                      <a:pt x="7786267" y="1809220"/>
                    </a:cubicBezTo>
                    <a:cubicBezTo>
                      <a:pt x="7791204" y="1817484"/>
                      <a:pt x="7799726" y="1822960"/>
                      <a:pt x="7809294" y="1824017"/>
                    </a:cubicBezTo>
                    <a:lnTo>
                      <a:pt x="7818936" y="2096591"/>
                    </a:lnTo>
                    <a:cubicBezTo>
                      <a:pt x="7812168" y="2097445"/>
                      <a:pt x="7805654" y="2099711"/>
                      <a:pt x="7799817" y="2103242"/>
                    </a:cubicBezTo>
                    <a:cubicBezTo>
                      <a:pt x="7777241" y="2116823"/>
                      <a:pt x="7769122" y="2145622"/>
                      <a:pt x="7781280" y="2168995"/>
                    </a:cubicBezTo>
                    <a:lnTo>
                      <a:pt x="7566312" y="2303329"/>
                    </a:lnTo>
                    <a:cubicBezTo>
                      <a:pt x="7550771" y="2283613"/>
                      <a:pt x="7522998" y="2278521"/>
                      <a:pt x="7501473" y="2291442"/>
                    </a:cubicBezTo>
                    <a:cubicBezTo>
                      <a:pt x="7495253" y="2295219"/>
                      <a:pt x="7489922" y="2300294"/>
                      <a:pt x="7485845" y="2306322"/>
                    </a:cubicBezTo>
                    <a:lnTo>
                      <a:pt x="7261235" y="2186951"/>
                    </a:lnTo>
                    <a:cubicBezTo>
                      <a:pt x="7271634" y="2161443"/>
                      <a:pt x="7259386" y="2132335"/>
                      <a:pt x="7233878" y="2121936"/>
                    </a:cubicBezTo>
                    <a:cubicBezTo>
                      <a:pt x="7228536" y="2119759"/>
                      <a:pt x="7222858" y="2118524"/>
                      <a:pt x="7217095" y="2118288"/>
                    </a:cubicBezTo>
                    <a:close/>
                    <a:moveTo>
                      <a:pt x="6312171" y="2424279"/>
                    </a:moveTo>
                    <a:cubicBezTo>
                      <a:pt x="6339501" y="2420838"/>
                      <a:pt x="6358867" y="2395892"/>
                      <a:pt x="6355425" y="2368562"/>
                    </a:cubicBezTo>
                    <a:cubicBezTo>
                      <a:pt x="6354731" y="2363048"/>
                      <a:pt x="6353120" y="2357689"/>
                      <a:pt x="6350659" y="2352707"/>
                    </a:cubicBezTo>
                    <a:lnTo>
                      <a:pt x="6576433" y="2211390"/>
                    </a:lnTo>
                    <a:cubicBezTo>
                      <a:pt x="6588851" y="2228698"/>
                      <a:pt x="6612949" y="2232662"/>
                      <a:pt x="6630257" y="2220244"/>
                    </a:cubicBezTo>
                    <a:cubicBezTo>
                      <a:pt x="6633670" y="2217794"/>
                      <a:pt x="6636661" y="2214804"/>
                      <a:pt x="6639110" y="2211390"/>
                    </a:cubicBezTo>
                    <a:lnTo>
                      <a:pt x="6881510" y="2340154"/>
                    </a:lnTo>
                    <a:cubicBezTo>
                      <a:pt x="6872986" y="2359677"/>
                      <a:pt x="6881902" y="2382413"/>
                      <a:pt x="6901425" y="2390937"/>
                    </a:cubicBezTo>
                    <a:cubicBezTo>
                      <a:pt x="6905287" y="2392623"/>
                      <a:pt x="6909398" y="2393664"/>
                      <a:pt x="6913597" y="2394021"/>
                    </a:cubicBezTo>
                    <a:lnTo>
                      <a:pt x="6923489" y="2673329"/>
                    </a:lnTo>
                    <a:cubicBezTo>
                      <a:pt x="6906055" y="2677410"/>
                      <a:pt x="6895231" y="2694851"/>
                      <a:pt x="6899312" y="2712284"/>
                    </a:cubicBezTo>
                    <a:cubicBezTo>
                      <a:pt x="6899873" y="2714681"/>
                      <a:pt x="6900705" y="2717006"/>
                      <a:pt x="6901792" y="2719215"/>
                    </a:cubicBezTo>
                    <a:lnTo>
                      <a:pt x="6669535" y="2864355"/>
                    </a:lnTo>
                    <a:cubicBezTo>
                      <a:pt x="6654560" y="2842868"/>
                      <a:pt x="6625516" y="2836623"/>
                      <a:pt x="6603033" y="2850057"/>
                    </a:cubicBezTo>
                    <a:cubicBezTo>
                      <a:pt x="6596291" y="2853965"/>
                      <a:pt x="6590588" y="2859440"/>
                      <a:pt x="6586408" y="2866017"/>
                    </a:cubicBezTo>
                    <a:lnTo>
                      <a:pt x="6344341" y="2737170"/>
                    </a:lnTo>
                    <a:cubicBezTo>
                      <a:pt x="6347901" y="2728643"/>
                      <a:pt x="6347223" y="2718935"/>
                      <a:pt x="6342513" y="2710985"/>
                    </a:cubicBezTo>
                    <a:cubicBezTo>
                      <a:pt x="6337955" y="2703451"/>
                      <a:pt x="6330214" y="2698402"/>
                      <a:pt x="6321481" y="2697269"/>
                    </a:cubicBezTo>
                    <a:close/>
                    <a:moveTo>
                      <a:pt x="6024301" y="2948979"/>
                    </a:moveTo>
                    <a:cubicBezTo>
                      <a:pt x="6028418" y="2948328"/>
                      <a:pt x="6032370" y="2946889"/>
                      <a:pt x="6035939" y="2944739"/>
                    </a:cubicBezTo>
                    <a:cubicBezTo>
                      <a:pt x="6050602" y="2935858"/>
                      <a:pt x="6056109" y="2917284"/>
                      <a:pt x="6048658" y="2901845"/>
                    </a:cubicBezTo>
                    <a:lnTo>
                      <a:pt x="6297292" y="2746397"/>
                    </a:lnTo>
                    <a:cubicBezTo>
                      <a:pt x="6306696" y="2755922"/>
                      <a:pt x="6321395" y="2757776"/>
                      <a:pt x="6332870" y="2750886"/>
                    </a:cubicBezTo>
                    <a:cubicBezTo>
                      <a:pt x="6335533" y="2749252"/>
                      <a:pt x="6337919" y="2747204"/>
                      <a:pt x="6339936" y="2744818"/>
                    </a:cubicBezTo>
                    <a:lnTo>
                      <a:pt x="6582584" y="2873748"/>
                    </a:lnTo>
                    <a:cubicBezTo>
                      <a:pt x="6572194" y="2899260"/>
                      <a:pt x="6584451" y="2928363"/>
                      <a:pt x="6609963" y="2938754"/>
                    </a:cubicBezTo>
                    <a:cubicBezTo>
                      <a:pt x="6615427" y="2940979"/>
                      <a:pt x="6621243" y="2942218"/>
                      <a:pt x="6627141" y="2942411"/>
                    </a:cubicBezTo>
                    <a:lnTo>
                      <a:pt x="6636451" y="3208003"/>
                    </a:lnTo>
                    <a:cubicBezTo>
                      <a:pt x="6631430" y="3208764"/>
                      <a:pt x="6626604" y="3210485"/>
                      <a:pt x="6622236" y="3213074"/>
                    </a:cubicBezTo>
                    <a:cubicBezTo>
                      <a:pt x="6605179" y="3223396"/>
                      <a:pt x="6598771" y="3244996"/>
                      <a:pt x="6607439" y="3262950"/>
                    </a:cubicBezTo>
                    <a:lnTo>
                      <a:pt x="6366786" y="3413411"/>
                    </a:lnTo>
                    <a:cubicBezTo>
                      <a:pt x="6357002" y="3401532"/>
                      <a:pt x="6340000" y="3398598"/>
                      <a:pt x="6326802" y="3406511"/>
                    </a:cubicBezTo>
                    <a:cubicBezTo>
                      <a:pt x="6323559" y="3408598"/>
                      <a:pt x="6320739" y="3411277"/>
                      <a:pt x="6318489" y="3414408"/>
                    </a:cubicBezTo>
                    <a:lnTo>
                      <a:pt x="6072183" y="3284231"/>
                    </a:lnTo>
                    <a:cubicBezTo>
                      <a:pt x="6081527" y="3262013"/>
                      <a:pt x="6071092" y="3236427"/>
                      <a:pt x="6048875" y="3227082"/>
                    </a:cubicBezTo>
                    <a:cubicBezTo>
                      <a:pt x="6044135" y="3225089"/>
                      <a:pt x="6039081" y="3223949"/>
                      <a:pt x="6033944" y="3223714"/>
                    </a:cubicBezTo>
                    <a:close/>
                    <a:moveTo>
                      <a:pt x="5698941" y="3440510"/>
                    </a:moveTo>
                    <a:cubicBezTo>
                      <a:pt x="5693484" y="3461101"/>
                      <a:pt x="5705753" y="3482218"/>
                      <a:pt x="5726345" y="3487675"/>
                    </a:cubicBezTo>
                    <a:cubicBezTo>
                      <a:pt x="5727587" y="3488004"/>
                      <a:pt x="5728845" y="3488271"/>
                      <a:pt x="5730114" y="3488475"/>
                    </a:cubicBezTo>
                    <a:lnTo>
                      <a:pt x="5739840" y="3762795"/>
                    </a:lnTo>
                    <a:cubicBezTo>
                      <a:pt x="5733964" y="3763597"/>
                      <a:pt x="5728309" y="3765576"/>
                      <a:pt x="5723215" y="3768614"/>
                    </a:cubicBezTo>
                    <a:cubicBezTo>
                      <a:pt x="5703400" y="3780386"/>
                      <a:pt x="5696126" y="3805518"/>
                      <a:pt x="5706589" y="3826055"/>
                    </a:cubicBezTo>
                    <a:lnTo>
                      <a:pt x="5478488" y="3968701"/>
                    </a:lnTo>
                    <a:cubicBezTo>
                      <a:pt x="5466832" y="3952170"/>
                      <a:pt x="5444418" y="3947390"/>
                      <a:pt x="5427032" y="3957728"/>
                    </a:cubicBezTo>
                    <a:cubicBezTo>
                      <a:pt x="5421410" y="3961139"/>
                      <a:pt x="5416770" y="3965952"/>
                      <a:pt x="5413566" y="3971693"/>
                    </a:cubicBezTo>
                    <a:lnTo>
                      <a:pt x="5172247" y="3843012"/>
                    </a:lnTo>
                    <a:cubicBezTo>
                      <a:pt x="5181120" y="3823646"/>
                      <a:pt x="5172613" y="3800754"/>
                      <a:pt x="5153247" y="3791880"/>
                    </a:cubicBezTo>
                    <a:cubicBezTo>
                      <a:pt x="5148609" y="3789756"/>
                      <a:pt x="5143596" y="3788572"/>
                      <a:pt x="5138497" y="3788398"/>
                    </a:cubicBezTo>
                    <a:lnTo>
                      <a:pt x="5128855" y="3525300"/>
                    </a:lnTo>
                    <a:cubicBezTo>
                      <a:pt x="5156327" y="3523288"/>
                      <a:pt x="5176967" y="3499387"/>
                      <a:pt x="5174956" y="3471915"/>
                    </a:cubicBezTo>
                    <a:cubicBezTo>
                      <a:pt x="5174449" y="3465001"/>
                      <a:pt x="5172508" y="3458269"/>
                      <a:pt x="5169254" y="3452148"/>
                    </a:cubicBezTo>
                    <a:lnTo>
                      <a:pt x="5397272" y="3309169"/>
                    </a:lnTo>
                    <a:cubicBezTo>
                      <a:pt x="5407329" y="3322859"/>
                      <a:pt x="5426579" y="3325806"/>
                      <a:pt x="5440269" y="3315750"/>
                    </a:cubicBezTo>
                    <a:cubicBezTo>
                      <a:pt x="5443409" y="3313443"/>
                      <a:pt x="5446082" y="3310561"/>
                      <a:pt x="5448146" y="3307257"/>
                    </a:cubicBezTo>
                    <a:close/>
                    <a:moveTo>
                      <a:pt x="5936187" y="1837816"/>
                    </a:moveTo>
                    <a:cubicBezTo>
                      <a:pt x="5924788" y="1862893"/>
                      <a:pt x="5935877" y="1892462"/>
                      <a:pt x="5960954" y="1903861"/>
                    </a:cubicBezTo>
                    <a:cubicBezTo>
                      <a:pt x="5966971" y="1906596"/>
                      <a:pt x="5973471" y="1908107"/>
                      <a:pt x="5980078" y="1908308"/>
                    </a:cubicBezTo>
                    <a:lnTo>
                      <a:pt x="5989305" y="2171489"/>
                    </a:lnTo>
                    <a:cubicBezTo>
                      <a:pt x="5968205" y="2174734"/>
                      <a:pt x="5953730" y="2194470"/>
                      <a:pt x="5956975" y="2215570"/>
                    </a:cubicBezTo>
                    <a:cubicBezTo>
                      <a:pt x="5957578" y="2219491"/>
                      <a:pt x="5958781" y="2223297"/>
                      <a:pt x="5960542" y="2226852"/>
                    </a:cubicBezTo>
                    <a:lnTo>
                      <a:pt x="5720887" y="2376564"/>
                    </a:lnTo>
                    <a:cubicBezTo>
                      <a:pt x="5709794" y="2361929"/>
                      <a:pt x="5688937" y="2359059"/>
                      <a:pt x="5674302" y="2370152"/>
                    </a:cubicBezTo>
                    <a:cubicBezTo>
                      <a:pt x="5671716" y="2372112"/>
                      <a:pt x="5669431" y="2374440"/>
                      <a:pt x="5667519" y="2377063"/>
                    </a:cubicBezTo>
                    <a:lnTo>
                      <a:pt x="5423540" y="2247634"/>
                    </a:lnTo>
                    <a:cubicBezTo>
                      <a:pt x="5432576" y="2225437"/>
                      <a:pt x="5421907" y="2200119"/>
                      <a:pt x="5399711" y="2191083"/>
                    </a:cubicBezTo>
                    <a:cubicBezTo>
                      <a:pt x="5395641" y="2189426"/>
                      <a:pt x="5391343" y="2188397"/>
                      <a:pt x="5386964" y="2188031"/>
                    </a:cubicBezTo>
                    <a:lnTo>
                      <a:pt x="5377073" y="1909306"/>
                    </a:lnTo>
                    <a:cubicBezTo>
                      <a:pt x="5380472" y="1908646"/>
                      <a:pt x="5383733" y="1907409"/>
                      <a:pt x="5386715" y="1905648"/>
                    </a:cubicBezTo>
                    <a:cubicBezTo>
                      <a:pt x="5400078" y="1897632"/>
                      <a:pt x="5405415" y="1880944"/>
                      <a:pt x="5399184" y="1866661"/>
                    </a:cubicBezTo>
                    <a:lnTo>
                      <a:pt x="5648566" y="1710798"/>
                    </a:lnTo>
                    <a:cubicBezTo>
                      <a:pt x="5658437" y="1723302"/>
                      <a:pt x="5676576" y="1725436"/>
                      <a:pt x="5689080" y="1715564"/>
                    </a:cubicBezTo>
                    <a:cubicBezTo>
                      <a:pt x="5691338" y="1713781"/>
                      <a:pt x="5693317" y="1711670"/>
                      <a:pt x="5694951" y="1709301"/>
                    </a:cubicBezTo>
                    <a:close/>
                    <a:moveTo>
                      <a:pt x="4766669" y="1937569"/>
                    </a:moveTo>
                    <a:cubicBezTo>
                      <a:pt x="4786344" y="1934728"/>
                      <a:pt x="4799991" y="1916476"/>
                      <a:pt x="4797150" y="1896801"/>
                    </a:cubicBezTo>
                    <a:cubicBezTo>
                      <a:pt x="4796587" y="1892903"/>
                      <a:pt x="4795389" y="1889124"/>
                      <a:pt x="4793602" y="1885614"/>
                    </a:cubicBezTo>
                    <a:lnTo>
                      <a:pt x="5024446" y="1741222"/>
                    </a:lnTo>
                    <a:cubicBezTo>
                      <a:pt x="5038883" y="1760695"/>
                      <a:pt x="5066371" y="1764778"/>
                      <a:pt x="5085844" y="1750342"/>
                    </a:cubicBezTo>
                    <a:cubicBezTo>
                      <a:pt x="5090345" y="1747005"/>
                      <a:pt x="5094166" y="1742837"/>
                      <a:pt x="5097099" y="1738063"/>
                    </a:cubicBezTo>
                    <a:lnTo>
                      <a:pt x="5341744" y="1868158"/>
                    </a:lnTo>
                    <a:cubicBezTo>
                      <a:pt x="5335380" y="1884056"/>
                      <a:pt x="5343109" y="1902102"/>
                      <a:pt x="5359008" y="1908466"/>
                    </a:cubicBezTo>
                    <a:cubicBezTo>
                      <a:pt x="5362120" y="1909711"/>
                      <a:pt x="5365413" y="1910444"/>
                      <a:pt x="5368760" y="1910635"/>
                    </a:cubicBezTo>
                    <a:lnTo>
                      <a:pt x="5378569" y="2188696"/>
                    </a:lnTo>
                    <a:cubicBezTo>
                      <a:pt x="5372169" y="2189257"/>
                      <a:pt x="5365977" y="2191246"/>
                      <a:pt x="5360447" y="2194515"/>
                    </a:cubicBezTo>
                    <a:cubicBezTo>
                      <a:pt x="5340726" y="2206460"/>
                      <a:pt x="5333639" y="2231646"/>
                      <a:pt x="5344237" y="2252123"/>
                    </a:cubicBezTo>
                    <a:lnTo>
                      <a:pt x="5108239" y="2399091"/>
                    </a:lnTo>
                    <a:cubicBezTo>
                      <a:pt x="5097579" y="2385748"/>
                      <a:pt x="5078121" y="2383573"/>
                      <a:pt x="5064778" y="2394232"/>
                    </a:cubicBezTo>
                    <a:cubicBezTo>
                      <a:pt x="5062708" y="2395886"/>
                      <a:pt x="5060859" y="2397798"/>
                      <a:pt x="5059277" y="2399923"/>
                    </a:cubicBezTo>
                    <a:lnTo>
                      <a:pt x="4813303" y="2269247"/>
                    </a:lnTo>
                    <a:cubicBezTo>
                      <a:pt x="4822905" y="2247189"/>
                      <a:pt x="4812807" y="2221524"/>
                      <a:pt x="4790749" y="2211923"/>
                    </a:cubicBezTo>
                    <a:cubicBezTo>
                      <a:pt x="4786148" y="2209920"/>
                      <a:pt x="4781236" y="2208728"/>
                      <a:pt x="4776229" y="2208398"/>
                    </a:cubicBezTo>
                    <a:close/>
                    <a:moveTo>
                      <a:pt x="4479464" y="2480639"/>
                    </a:moveTo>
                    <a:cubicBezTo>
                      <a:pt x="4484957" y="2480008"/>
                      <a:pt x="4490254" y="2478224"/>
                      <a:pt x="4495009" y="2475402"/>
                    </a:cubicBezTo>
                    <a:cubicBezTo>
                      <a:pt x="4512683" y="2464715"/>
                      <a:pt x="4518863" y="2442041"/>
                      <a:pt x="4509058" y="2423863"/>
                    </a:cubicBezTo>
                    <a:lnTo>
                      <a:pt x="4739154" y="2279970"/>
                    </a:lnTo>
                    <a:cubicBezTo>
                      <a:pt x="4754061" y="2298793"/>
                      <a:pt x="4781404" y="2301968"/>
                      <a:pt x="4800227" y="2287060"/>
                    </a:cubicBezTo>
                    <a:cubicBezTo>
                      <a:pt x="4803590" y="2284398"/>
                      <a:pt x="4806539" y="2281252"/>
                      <a:pt x="4808981" y="2277726"/>
                    </a:cubicBezTo>
                    <a:lnTo>
                      <a:pt x="5055038" y="2408402"/>
                    </a:lnTo>
                    <a:cubicBezTo>
                      <a:pt x="5049102" y="2424416"/>
                      <a:pt x="5057273" y="2442209"/>
                      <a:pt x="5073287" y="2448144"/>
                    </a:cubicBezTo>
                    <a:cubicBezTo>
                      <a:pt x="5075920" y="2449120"/>
                      <a:pt x="5078674" y="2449733"/>
                      <a:pt x="5081472" y="2449966"/>
                    </a:cubicBezTo>
                    <a:lnTo>
                      <a:pt x="5091364" y="2732099"/>
                    </a:lnTo>
                    <a:cubicBezTo>
                      <a:pt x="5085487" y="2732512"/>
                      <a:pt x="5079791" y="2734306"/>
                      <a:pt x="5074739" y="2737336"/>
                    </a:cubicBezTo>
                    <a:cubicBezTo>
                      <a:pt x="5056848" y="2748070"/>
                      <a:pt x="5050705" y="2771064"/>
                      <a:pt x="5060857" y="2789291"/>
                    </a:cubicBezTo>
                    <a:lnTo>
                      <a:pt x="4822447" y="2938338"/>
                    </a:lnTo>
                    <a:cubicBezTo>
                      <a:pt x="4812035" y="2924801"/>
                      <a:pt x="4792621" y="2922267"/>
                      <a:pt x="4779083" y="2932679"/>
                    </a:cubicBezTo>
                    <a:cubicBezTo>
                      <a:pt x="4776576" y="2934607"/>
                      <a:pt x="4774380" y="2936908"/>
                      <a:pt x="4772571" y="2939502"/>
                    </a:cubicBezTo>
                    <a:lnTo>
                      <a:pt x="4534162" y="2812816"/>
                    </a:lnTo>
                    <a:cubicBezTo>
                      <a:pt x="4544040" y="2787102"/>
                      <a:pt x="4531203" y="2758249"/>
                      <a:pt x="4505489" y="2748371"/>
                    </a:cubicBezTo>
                    <a:cubicBezTo>
                      <a:pt x="4500148" y="2746319"/>
                      <a:pt x="4494494" y="2745202"/>
                      <a:pt x="4488774" y="2745067"/>
                    </a:cubicBezTo>
                    <a:close/>
                    <a:moveTo>
                      <a:pt x="2703367" y="2876907"/>
                    </a:moveTo>
                    <a:cubicBezTo>
                      <a:pt x="2713889" y="2851450"/>
                      <a:pt x="2701783" y="2822283"/>
                      <a:pt x="2676326" y="2811761"/>
                    </a:cubicBezTo>
                    <a:cubicBezTo>
                      <a:pt x="2670685" y="2809429"/>
                      <a:pt x="2664663" y="2808152"/>
                      <a:pt x="2658561" y="2807995"/>
                    </a:cubicBezTo>
                    <a:lnTo>
                      <a:pt x="2649334" y="2546144"/>
                    </a:lnTo>
                    <a:cubicBezTo>
                      <a:pt x="2656435" y="2545863"/>
                      <a:pt x="2663352" y="2543805"/>
                      <a:pt x="2669451" y="2540158"/>
                    </a:cubicBezTo>
                    <a:cubicBezTo>
                      <a:pt x="2689394" y="2528405"/>
                      <a:pt x="2696690" y="2503124"/>
                      <a:pt x="2686076" y="2482551"/>
                    </a:cubicBezTo>
                    <a:lnTo>
                      <a:pt x="2918001" y="2337577"/>
                    </a:lnTo>
                    <a:cubicBezTo>
                      <a:pt x="2929447" y="2351938"/>
                      <a:pt x="2950367" y="2354302"/>
                      <a:pt x="2964728" y="2342856"/>
                    </a:cubicBezTo>
                    <a:cubicBezTo>
                      <a:pt x="2967090" y="2340974"/>
                      <a:pt x="2969184" y="2338778"/>
                      <a:pt x="2970954" y="2336330"/>
                    </a:cubicBezTo>
                    <a:lnTo>
                      <a:pt x="3207118" y="2461770"/>
                    </a:lnTo>
                    <a:cubicBezTo>
                      <a:pt x="3196236" y="2487075"/>
                      <a:pt x="3207927" y="2516411"/>
                      <a:pt x="3233232" y="2527293"/>
                    </a:cubicBezTo>
                    <a:cubicBezTo>
                      <a:pt x="3239272" y="2529891"/>
                      <a:pt x="3245765" y="2531268"/>
                      <a:pt x="3252339" y="2531347"/>
                    </a:cubicBezTo>
                    <a:lnTo>
                      <a:pt x="3261899" y="2804503"/>
                    </a:lnTo>
                    <a:cubicBezTo>
                      <a:pt x="3258974" y="2805298"/>
                      <a:pt x="3256175" y="2806502"/>
                      <a:pt x="3253586" y="2808078"/>
                    </a:cubicBezTo>
                    <a:cubicBezTo>
                      <a:pt x="3240021" y="2816192"/>
                      <a:pt x="3234043" y="2832735"/>
                      <a:pt x="3239288" y="2847646"/>
                    </a:cubicBezTo>
                    <a:lnTo>
                      <a:pt x="2996141" y="2999769"/>
                    </a:lnTo>
                    <a:cubicBezTo>
                      <a:pt x="2983844" y="2985577"/>
                      <a:pt x="2963138" y="2982249"/>
                      <a:pt x="2947013" y="2991872"/>
                    </a:cubicBezTo>
                    <a:cubicBezTo>
                      <a:pt x="2943209" y="2994218"/>
                      <a:pt x="2939835" y="2997199"/>
                      <a:pt x="2937037" y="3000684"/>
                    </a:cubicBezTo>
                    <a:close/>
                    <a:moveTo>
                      <a:pt x="3019250" y="3390717"/>
                    </a:moveTo>
                    <a:cubicBezTo>
                      <a:pt x="3028683" y="3368536"/>
                      <a:pt x="3018349" y="3342909"/>
                      <a:pt x="2996169" y="3333476"/>
                    </a:cubicBezTo>
                    <a:cubicBezTo>
                      <a:pt x="2991775" y="3331608"/>
                      <a:pt x="2987104" y="3330473"/>
                      <a:pt x="2982342" y="3330117"/>
                    </a:cubicBezTo>
                    <a:lnTo>
                      <a:pt x="2972948" y="3063195"/>
                    </a:lnTo>
                    <a:cubicBezTo>
                      <a:pt x="2977460" y="3062378"/>
                      <a:pt x="2981793" y="3060774"/>
                      <a:pt x="2985750" y="3058457"/>
                    </a:cubicBezTo>
                    <a:cubicBezTo>
                      <a:pt x="3003585" y="3047726"/>
                      <a:pt x="3009752" y="3024820"/>
                      <a:pt x="2999715" y="3006586"/>
                    </a:cubicBezTo>
                    <a:lnTo>
                      <a:pt x="3242031" y="2855128"/>
                    </a:lnTo>
                    <a:cubicBezTo>
                      <a:pt x="3251892" y="2869736"/>
                      <a:pt x="3271439" y="2874112"/>
                      <a:pt x="3286588" y="2865103"/>
                    </a:cubicBezTo>
                    <a:cubicBezTo>
                      <a:pt x="3290584" y="2862706"/>
                      <a:pt x="3294015" y="2859473"/>
                      <a:pt x="3296646" y="2855627"/>
                    </a:cubicBezTo>
                    <a:lnTo>
                      <a:pt x="3540957" y="2984973"/>
                    </a:lnTo>
                    <a:cubicBezTo>
                      <a:pt x="3532408" y="3004484"/>
                      <a:pt x="3541295" y="3027232"/>
                      <a:pt x="3560807" y="3035780"/>
                    </a:cubicBezTo>
                    <a:cubicBezTo>
                      <a:pt x="3565328" y="3037762"/>
                      <a:pt x="3570188" y="3038856"/>
                      <a:pt x="3575123" y="3039005"/>
                    </a:cubicBezTo>
                    <a:lnTo>
                      <a:pt x="3584848" y="3313325"/>
                    </a:lnTo>
                    <a:cubicBezTo>
                      <a:pt x="3580161" y="3314119"/>
                      <a:pt x="3575655" y="3315752"/>
                      <a:pt x="3571548" y="3318147"/>
                    </a:cubicBezTo>
                    <a:cubicBezTo>
                      <a:pt x="3554268" y="3328584"/>
                      <a:pt x="3547902" y="3350543"/>
                      <a:pt x="3556918" y="3368605"/>
                    </a:cubicBezTo>
                    <a:lnTo>
                      <a:pt x="3316514" y="3518899"/>
                    </a:lnTo>
                    <a:cubicBezTo>
                      <a:pt x="3305446" y="3504245"/>
                      <a:pt x="3284595" y="3501337"/>
                      <a:pt x="3269941" y="3512404"/>
                    </a:cubicBezTo>
                    <a:cubicBezTo>
                      <a:pt x="3267237" y="3514446"/>
                      <a:pt x="3264862" y="3516888"/>
                      <a:pt x="3262896" y="3519647"/>
                    </a:cubicBezTo>
                    <a:close/>
                    <a:moveTo>
                      <a:pt x="3626661" y="3367774"/>
                    </a:moveTo>
                    <a:cubicBezTo>
                      <a:pt x="3635458" y="3348322"/>
                      <a:pt x="3626820" y="3325423"/>
                      <a:pt x="3607369" y="3316626"/>
                    </a:cubicBezTo>
                    <a:cubicBezTo>
                      <a:pt x="3602968" y="3314636"/>
                      <a:pt x="3598234" y="3313488"/>
                      <a:pt x="3593411" y="3313242"/>
                    </a:cubicBezTo>
                    <a:lnTo>
                      <a:pt x="3583768" y="3038922"/>
                    </a:lnTo>
                    <a:cubicBezTo>
                      <a:pt x="3588275" y="3038090"/>
                      <a:pt x="3592606" y="3036487"/>
                      <a:pt x="3596569" y="3034184"/>
                    </a:cubicBezTo>
                    <a:cubicBezTo>
                      <a:pt x="3613494" y="3023970"/>
                      <a:pt x="3619985" y="3002632"/>
                      <a:pt x="3611615" y="2984723"/>
                    </a:cubicBezTo>
                    <a:lnTo>
                      <a:pt x="3843873" y="2839417"/>
                    </a:lnTo>
                    <a:cubicBezTo>
                      <a:pt x="3857174" y="2857651"/>
                      <a:pt x="3882169" y="2862766"/>
                      <a:pt x="3901563" y="2851221"/>
                    </a:cubicBezTo>
                    <a:cubicBezTo>
                      <a:pt x="3906896" y="2848040"/>
                      <a:pt x="3911465" y="2843727"/>
                      <a:pt x="3914947" y="2838586"/>
                    </a:cubicBezTo>
                    <a:lnTo>
                      <a:pt x="4148534" y="2962695"/>
                    </a:lnTo>
                    <a:cubicBezTo>
                      <a:pt x="4137986" y="2984469"/>
                      <a:pt x="4147087" y="3010671"/>
                      <a:pt x="4168861" y="3021219"/>
                    </a:cubicBezTo>
                    <a:cubicBezTo>
                      <a:pt x="4174101" y="3023758"/>
                      <a:pt x="4179795" y="3025226"/>
                      <a:pt x="4185609" y="3025539"/>
                    </a:cubicBezTo>
                    <a:lnTo>
                      <a:pt x="4195252" y="3298363"/>
                    </a:lnTo>
                    <a:cubicBezTo>
                      <a:pt x="4177231" y="3301894"/>
                      <a:pt x="4165484" y="3319365"/>
                      <a:pt x="4169015" y="3337386"/>
                    </a:cubicBezTo>
                    <a:cubicBezTo>
                      <a:pt x="4169553" y="3340134"/>
                      <a:pt x="4170437" y="3342803"/>
                      <a:pt x="4171644" y="3345329"/>
                    </a:cubicBezTo>
                    <a:lnTo>
                      <a:pt x="3932902" y="3494958"/>
                    </a:lnTo>
                    <a:cubicBezTo>
                      <a:pt x="3921211" y="3478614"/>
                      <a:pt x="3898930" y="3473984"/>
                      <a:pt x="3881696" y="3484318"/>
                    </a:cubicBezTo>
                    <a:cubicBezTo>
                      <a:pt x="3876479" y="3487444"/>
                      <a:pt x="3872089" y="3491778"/>
                      <a:pt x="3868894" y="3496953"/>
                    </a:cubicBezTo>
                    <a:close/>
                    <a:moveTo>
                      <a:pt x="4231662" y="3343833"/>
                    </a:moveTo>
                    <a:cubicBezTo>
                      <a:pt x="4238886" y="3326950"/>
                      <a:pt x="4231055" y="3307407"/>
                      <a:pt x="4214171" y="3300183"/>
                    </a:cubicBezTo>
                    <a:cubicBezTo>
                      <a:pt x="4210880" y="3298775"/>
                      <a:pt x="4207382" y="3297907"/>
                      <a:pt x="4203814" y="3297614"/>
                    </a:cubicBezTo>
                    <a:lnTo>
                      <a:pt x="4194171" y="3024791"/>
                    </a:lnTo>
                    <a:cubicBezTo>
                      <a:pt x="4199832" y="3023950"/>
                      <a:pt x="4205278" y="3022031"/>
                      <a:pt x="4210215" y="3019138"/>
                    </a:cubicBezTo>
                    <a:cubicBezTo>
                      <a:pt x="4230322" y="3006978"/>
                      <a:pt x="4237254" y="2981120"/>
                      <a:pt x="4225926" y="2960533"/>
                    </a:cubicBezTo>
                    <a:lnTo>
                      <a:pt x="4446379" y="2822625"/>
                    </a:lnTo>
                    <a:cubicBezTo>
                      <a:pt x="4461226" y="2844258"/>
                      <a:pt x="4490295" y="2850689"/>
                      <a:pt x="4512881" y="2837338"/>
                    </a:cubicBezTo>
                    <a:cubicBezTo>
                      <a:pt x="4519698" y="2833237"/>
                      <a:pt x="4525405" y="2827529"/>
                      <a:pt x="4529507" y="2820713"/>
                    </a:cubicBezTo>
                    <a:lnTo>
                      <a:pt x="4767999" y="2947399"/>
                    </a:lnTo>
                    <a:cubicBezTo>
                      <a:pt x="4762541" y="2963534"/>
                      <a:pt x="4771197" y="2981037"/>
                      <a:pt x="4787332" y="2986495"/>
                    </a:cubicBezTo>
                    <a:cubicBezTo>
                      <a:pt x="4789843" y="2987345"/>
                      <a:pt x="4792454" y="2987867"/>
                      <a:pt x="4795098" y="2988048"/>
                    </a:cubicBezTo>
                    <a:lnTo>
                      <a:pt x="4805406" y="3280324"/>
                    </a:lnTo>
                    <a:cubicBezTo>
                      <a:pt x="4801136" y="3280825"/>
                      <a:pt x="4797024" y="3282243"/>
                      <a:pt x="4793353" y="3284480"/>
                    </a:cubicBezTo>
                    <a:cubicBezTo>
                      <a:pt x="4779878" y="3292574"/>
                      <a:pt x="4774592" y="3309469"/>
                      <a:pt x="4781050" y="3323799"/>
                    </a:cubicBezTo>
                    <a:lnTo>
                      <a:pt x="4546631" y="3470436"/>
                    </a:lnTo>
                    <a:cubicBezTo>
                      <a:pt x="4532878" y="3453862"/>
                      <a:pt x="4509105" y="3449770"/>
                      <a:pt x="4490603" y="3460793"/>
                    </a:cubicBezTo>
                    <a:cubicBezTo>
                      <a:pt x="4485078" y="3464188"/>
                      <a:pt x="4480367" y="3468757"/>
                      <a:pt x="4476804" y="3474176"/>
                    </a:cubicBezTo>
                    <a:close/>
                    <a:moveTo>
                      <a:pt x="4518035" y="3541925"/>
                    </a:moveTo>
                    <a:cubicBezTo>
                      <a:pt x="4541902" y="3539755"/>
                      <a:pt x="4559490" y="3518648"/>
                      <a:pt x="4557320" y="3494782"/>
                    </a:cubicBezTo>
                    <a:cubicBezTo>
                      <a:pt x="4556762" y="3488645"/>
                      <a:pt x="4554903" y="3482698"/>
                      <a:pt x="4551868" y="3477336"/>
                    </a:cubicBezTo>
                    <a:lnTo>
                      <a:pt x="4785954" y="3330948"/>
                    </a:lnTo>
                    <a:cubicBezTo>
                      <a:pt x="4795673" y="3342916"/>
                      <a:pt x="4812707" y="3345927"/>
                      <a:pt x="4825939" y="3338014"/>
                    </a:cubicBezTo>
                    <a:cubicBezTo>
                      <a:pt x="4830077" y="3335524"/>
                      <a:pt x="4833556" y="3332074"/>
                      <a:pt x="4836080" y="3327956"/>
                    </a:cubicBezTo>
                    <a:lnTo>
                      <a:pt x="5078895" y="3456969"/>
                    </a:lnTo>
                    <a:cubicBezTo>
                      <a:pt x="5068891" y="3482634"/>
                      <a:pt x="5081586" y="3511550"/>
                      <a:pt x="5107251" y="3521554"/>
                    </a:cubicBezTo>
                    <a:cubicBezTo>
                      <a:pt x="5111489" y="3523206"/>
                      <a:pt x="5115933" y="3524270"/>
                      <a:pt x="5120459" y="3524718"/>
                    </a:cubicBezTo>
                    <a:lnTo>
                      <a:pt x="5129769" y="3788896"/>
                    </a:lnTo>
                    <a:cubicBezTo>
                      <a:pt x="5125111" y="3789703"/>
                      <a:pt x="5120635" y="3791336"/>
                      <a:pt x="5116552" y="3793718"/>
                    </a:cubicBezTo>
                    <a:cubicBezTo>
                      <a:pt x="5099272" y="3804155"/>
                      <a:pt x="5092905" y="3826114"/>
                      <a:pt x="5101921" y="3844176"/>
                    </a:cubicBezTo>
                    <a:lnTo>
                      <a:pt x="4861517" y="3994470"/>
                    </a:lnTo>
                    <a:cubicBezTo>
                      <a:pt x="4851618" y="3983088"/>
                      <a:pt x="4834988" y="3980427"/>
                      <a:pt x="4822032" y="3988152"/>
                    </a:cubicBezTo>
                    <a:cubicBezTo>
                      <a:pt x="4818333" y="3990419"/>
                      <a:pt x="4815137" y="3993417"/>
                      <a:pt x="4812638" y="3996964"/>
                    </a:cubicBezTo>
                    <a:lnTo>
                      <a:pt x="4561428" y="3863960"/>
                    </a:lnTo>
                    <a:cubicBezTo>
                      <a:pt x="4570387" y="3844583"/>
                      <a:pt x="4561942" y="3821612"/>
                      <a:pt x="4542565" y="3812652"/>
                    </a:cubicBezTo>
                    <a:cubicBezTo>
                      <a:pt x="4537787" y="3810443"/>
                      <a:pt x="4532608" y="3809233"/>
                      <a:pt x="4527346" y="3809096"/>
                    </a:cubicBezTo>
                    <a:close/>
                    <a:moveTo>
                      <a:pt x="3621591" y="4088404"/>
                    </a:moveTo>
                    <a:cubicBezTo>
                      <a:pt x="3625939" y="4087850"/>
                      <a:pt x="3630127" y="4086407"/>
                      <a:pt x="3633894" y="4084164"/>
                    </a:cubicBezTo>
                    <a:cubicBezTo>
                      <a:pt x="3647693" y="4075907"/>
                      <a:pt x="3652861" y="4058452"/>
                      <a:pt x="3645781" y="4044014"/>
                    </a:cubicBezTo>
                    <a:lnTo>
                      <a:pt x="3884688" y="3894385"/>
                    </a:lnTo>
                    <a:cubicBezTo>
                      <a:pt x="3896756" y="3909374"/>
                      <a:pt x="3917996" y="3913233"/>
                      <a:pt x="3934565" y="3903446"/>
                    </a:cubicBezTo>
                    <a:cubicBezTo>
                      <a:pt x="3939482" y="3900491"/>
                      <a:pt x="3943661" y="3896455"/>
                      <a:pt x="3946784" y="3891642"/>
                    </a:cubicBezTo>
                    <a:lnTo>
                      <a:pt x="4197330" y="4024645"/>
                    </a:lnTo>
                    <a:cubicBezTo>
                      <a:pt x="4191366" y="4040649"/>
                      <a:pt x="4199505" y="4058457"/>
                      <a:pt x="4215509" y="4064421"/>
                    </a:cubicBezTo>
                    <a:cubicBezTo>
                      <a:pt x="4217980" y="4065341"/>
                      <a:pt x="4220559" y="4065943"/>
                      <a:pt x="4223183" y="4066209"/>
                    </a:cubicBezTo>
                    <a:lnTo>
                      <a:pt x="4233241" y="4351087"/>
                    </a:lnTo>
                    <a:cubicBezTo>
                      <a:pt x="4228824" y="4351916"/>
                      <a:pt x="4224579" y="4353490"/>
                      <a:pt x="4220689" y="4355742"/>
                    </a:cubicBezTo>
                    <a:cubicBezTo>
                      <a:pt x="4204163" y="4365772"/>
                      <a:pt x="4197537" y="4386433"/>
                      <a:pt x="4205144" y="4404205"/>
                    </a:cubicBezTo>
                    <a:lnTo>
                      <a:pt x="3971972" y="4549927"/>
                    </a:lnTo>
                    <a:cubicBezTo>
                      <a:pt x="3958489" y="4532388"/>
                      <a:pt x="3934001" y="4527740"/>
                      <a:pt x="3915030" y="4539120"/>
                    </a:cubicBezTo>
                    <a:cubicBezTo>
                      <a:pt x="3910244" y="4541999"/>
                      <a:pt x="3906065" y="4545782"/>
                      <a:pt x="3902727" y="4550260"/>
                    </a:cubicBezTo>
                    <a:lnTo>
                      <a:pt x="3659995" y="4421329"/>
                    </a:lnTo>
                    <a:cubicBezTo>
                      <a:pt x="3666242" y="4405384"/>
                      <a:pt x="3658379" y="4387395"/>
                      <a:pt x="3642435" y="4381149"/>
                    </a:cubicBezTo>
                    <a:cubicBezTo>
                      <a:pt x="3638995" y="4379801"/>
                      <a:pt x="3635343" y="4379079"/>
                      <a:pt x="3631649" y="4379017"/>
                    </a:cubicBezTo>
                    <a:close/>
                    <a:moveTo>
                      <a:pt x="3335134" y="4643445"/>
                    </a:moveTo>
                    <a:cubicBezTo>
                      <a:pt x="3359157" y="4642161"/>
                      <a:pt x="3377590" y="4621647"/>
                      <a:pt x="3376307" y="4597625"/>
                    </a:cubicBezTo>
                    <a:cubicBezTo>
                      <a:pt x="3375915" y="4590293"/>
                      <a:pt x="3373676" y="4583178"/>
                      <a:pt x="3369798" y="4576943"/>
                    </a:cubicBezTo>
                    <a:lnTo>
                      <a:pt x="3369798" y="4576943"/>
                    </a:lnTo>
                    <a:lnTo>
                      <a:pt x="3606628" y="4428810"/>
                    </a:lnTo>
                    <a:cubicBezTo>
                      <a:pt x="3616177" y="4442023"/>
                      <a:pt x="3634295" y="4445647"/>
                      <a:pt x="3648191" y="4437123"/>
                    </a:cubicBezTo>
                    <a:cubicBezTo>
                      <a:pt x="3651403" y="4435065"/>
                      <a:pt x="3654219" y="4432446"/>
                      <a:pt x="3656504" y="4429392"/>
                    </a:cubicBezTo>
                    <a:lnTo>
                      <a:pt x="3898820" y="4558156"/>
                    </a:lnTo>
                    <a:cubicBezTo>
                      <a:pt x="3888442" y="4579910"/>
                      <a:pt x="3897665" y="4605959"/>
                      <a:pt x="3919419" y="4616336"/>
                    </a:cubicBezTo>
                    <a:cubicBezTo>
                      <a:pt x="3925114" y="4619053"/>
                      <a:pt x="3931331" y="4620503"/>
                      <a:pt x="3937640" y="4620585"/>
                    </a:cubicBezTo>
                    <a:lnTo>
                      <a:pt x="3946784" y="4896900"/>
                    </a:lnTo>
                    <a:cubicBezTo>
                      <a:pt x="3942959" y="4897475"/>
                      <a:pt x="3939287" y="4898803"/>
                      <a:pt x="3935978" y="4900807"/>
                    </a:cubicBezTo>
                    <a:cubicBezTo>
                      <a:pt x="3922072" y="4909105"/>
                      <a:pt x="3916923" y="4926727"/>
                      <a:pt x="3924174" y="4941206"/>
                    </a:cubicBezTo>
                    <a:lnTo>
                      <a:pt x="3677535" y="5095491"/>
                    </a:lnTo>
                    <a:cubicBezTo>
                      <a:pt x="3666767" y="5084003"/>
                      <a:pt x="3649417" y="5081644"/>
                      <a:pt x="3635972" y="5089839"/>
                    </a:cubicBezTo>
                    <a:cubicBezTo>
                      <a:pt x="3632797" y="5091638"/>
                      <a:pt x="3629980" y="5094005"/>
                      <a:pt x="3627659" y="5096821"/>
                    </a:cubicBezTo>
                    <a:lnTo>
                      <a:pt x="3381187" y="4965896"/>
                    </a:lnTo>
                    <a:cubicBezTo>
                      <a:pt x="3391264" y="4943950"/>
                      <a:pt x="3381643" y="4917990"/>
                      <a:pt x="3359698" y="4907913"/>
                    </a:cubicBezTo>
                    <a:cubicBezTo>
                      <a:pt x="3354559" y="4905554"/>
                      <a:pt x="3349012" y="4904213"/>
                      <a:pt x="3343364" y="4903966"/>
                    </a:cubicBezTo>
                    <a:close/>
                    <a:moveTo>
                      <a:pt x="2438856" y="5202559"/>
                    </a:moveTo>
                    <a:cubicBezTo>
                      <a:pt x="2462831" y="5201254"/>
                      <a:pt x="2481209" y="5180760"/>
                      <a:pt x="2479903" y="5156784"/>
                    </a:cubicBezTo>
                    <a:cubicBezTo>
                      <a:pt x="2479524" y="5149824"/>
                      <a:pt x="2477477" y="5143057"/>
                      <a:pt x="2473935" y="5137055"/>
                    </a:cubicBezTo>
                    <a:lnTo>
                      <a:pt x="2692560" y="5000310"/>
                    </a:lnTo>
                    <a:cubicBezTo>
                      <a:pt x="2707630" y="5023369"/>
                      <a:pt x="2738538" y="5029845"/>
                      <a:pt x="2761597" y="5014776"/>
                    </a:cubicBezTo>
                    <a:cubicBezTo>
                      <a:pt x="2767783" y="5010733"/>
                      <a:pt x="2772993" y="5005366"/>
                      <a:pt x="2776851" y="4999063"/>
                    </a:cubicBezTo>
                    <a:lnTo>
                      <a:pt x="3013764" y="5124918"/>
                    </a:lnTo>
                    <a:cubicBezTo>
                      <a:pt x="3006294" y="5141694"/>
                      <a:pt x="3013839" y="5161349"/>
                      <a:pt x="3030615" y="5168819"/>
                    </a:cubicBezTo>
                    <a:cubicBezTo>
                      <a:pt x="3033685" y="5170186"/>
                      <a:pt x="3036944" y="5171079"/>
                      <a:pt x="3040282" y="5171470"/>
                    </a:cubicBezTo>
                    <a:lnTo>
                      <a:pt x="3049924" y="5444709"/>
                    </a:lnTo>
                    <a:cubicBezTo>
                      <a:pt x="3044749" y="5445661"/>
                      <a:pt x="3039773" y="5447488"/>
                      <a:pt x="3035211" y="5450112"/>
                    </a:cubicBezTo>
                    <a:cubicBezTo>
                      <a:pt x="3015581" y="5461867"/>
                      <a:pt x="3008332" y="5486767"/>
                      <a:pt x="3018586" y="5507221"/>
                    </a:cubicBezTo>
                    <a:lnTo>
                      <a:pt x="2791648" y="5649119"/>
                    </a:lnTo>
                    <a:cubicBezTo>
                      <a:pt x="2778660" y="5630187"/>
                      <a:pt x="2753225" y="5624554"/>
                      <a:pt x="2733459" y="5636234"/>
                    </a:cubicBezTo>
                    <a:cubicBezTo>
                      <a:pt x="2727521" y="5639829"/>
                      <a:pt x="2722555" y="5644823"/>
                      <a:pt x="2718995" y="5650781"/>
                    </a:cubicBezTo>
                    <a:lnTo>
                      <a:pt x="2474102" y="5520355"/>
                    </a:lnTo>
                    <a:cubicBezTo>
                      <a:pt x="2480124" y="5504422"/>
                      <a:pt x="2472089" y="5486625"/>
                      <a:pt x="2456157" y="5480603"/>
                    </a:cubicBezTo>
                    <a:cubicBezTo>
                      <a:pt x="2453719" y="5479681"/>
                      <a:pt x="2451173" y="5479072"/>
                      <a:pt x="2448582" y="5478791"/>
                    </a:cubicBezTo>
                    <a:close/>
                    <a:moveTo>
                      <a:pt x="2104185" y="5682619"/>
                    </a:moveTo>
                    <a:cubicBezTo>
                      <a:pt x="2095063" y="5704929"/>
                      <a:pt x="2105754" y="5730410"/>
                      <a:pt x="2128064" y="5739532"/>
                    </a:cubicBezTo>
                    <a:cubicBezTo>
                      <a:pt x="2132610" y="5741390"/>
                      <a:pt x="2137437" y="5742468"/>
                      <a:pt x="2142341" y="5742721"/>
                    </a:cubicBezTo>
                    <a:lnTo>
                      <a:pt x="2149490" y="5926099"/>
                    </a:lnTo>
                    <a:lnTo>
                      <a:pt x="2152649" y="6015710"/>
                    </a:lnTo>
                    <a:cubicBezTo>
                      <a:pt x="2148331" y="6016431"/>
                      <a:pt x="2144186" y="6017953"/>
                      <a:pt x="2140429" y="6020199"/>
                    </a:cubicBezTo>
                    <a:cubicBezTo>
                      <a:pt x="2124279" y="6029917"/>
                      <a:pt x="2118102" y="6050279"/>
                      <a:pt x="2126131" y="6067332"/>
                    </a:cubicBezTo>
                    <a:lnTo>
                      <a:pt x="1883566" y="6220203"/>
                    </a:lnTo>
                    <a:cubicBezTo>
                      <a:pt x="1874095" y="6207334"/>
                      <a:pt x="1856410" y="6203739"/>
                      <a:pt x="1842667" y="6211890"/>
                    </a:cubicBezTo>
                    <a:cubicBezTo>
                      <a:pt x="1838893" y="6214189"/>
                      <a:pt x="1835638" y="6217246"/>
                      <a:pt x="1833107" y="6220868"/>
                    </a:cubicBezTo>
                    <a:lnTo>
                      <a:pt x="1583726" y="6089693"/>
                    </a:lnTo>
                    <a:cubicBezTo>
                      <a:pt x="1591008" y="6070753"/>
                      <a:pt x="1581558" y="6049495"/>
                      <a:pt x="1562617" y="6042212"/>
                    </a:cubicBezTo>
                    <a:cubicBezTo>
                      <a:pt x="1559023" y="6040830"/>
                      <a:pt x="1555234" y="6040022"/>
                      <a:pt x="1551389" y="6039817"/>
                    </a:cubicBezTo>
                    <a:lnTo>
                      <a:pt x="1540499" y="5753111"/>
                    </a:lnTo>
                    <a:cubicBezTo>
                      <a:pt x="1557398" y="5750342"/>
                      <a:pt x="1568853" y="5734398"/>
                      <a:pt x="1566084" y="5717499"/>
                    </a:cubicBezTo>
                    <a:cubicBezTo>
                      <a:pt x="1565639" y="5714783"/>
                      <a:pt x="1564835" y="5712138"/>
                      <a:pt x="1563692" y="5709635"/>
                    </a:cubicBezTo>
                    <a:lnTo>
                      <a:pt x="1799524" y="5561004"/>
                    </a:lnTo>
                    <a:cubicBezTo>
                      <a:pt x="1813845" y="5580276"/>
                      <a:pt x="1841078" y="5584290"/>
                      <a:pt x="1860351" y="5569969"/>
                    </a:cubicBezTo>
                    <a:cubicBezTo>
                      <a:pt x="1864201" y="5567108"/>
                      <a:pt x="1867551" y="5563629"/>
                      <a:pt x="1870265" y="5559674"/>
                    </a:cubicBezTo>
                    <a:close/>
                    <a:moveTo>
                      <a:pt x="642642" y="5594005"/>
                    </a:moveTo>
                    <a:cubicBezTo>
                      <a:pt x="645999" y="5585168"/>
                      <a:pt x="645142" y="5575282"/>
                      <a:pt x="640314" y="5567155"/>
                    </a:cubicBezTo>
                    <a:cubicBezTo>
                      <a:pt x="635122" y="5558533"/>
                      <a:pt x="626077" y="5552957"/>
                      <a:pt x="616041" y="5552192"/>
                    </a:cubicBezTo>
                    <a:lnTo>
                      <a:pt x="605234" y="5275960"/>
                    </a:lnTo>
                    <a:cubicBezTo>
                      <a:pt x="611724" y="5275341"/>
                      <a:pt x="617997" y="5273297"/>
                      <a:pt x="623606" y="5269975"/>
                    </a:cubicBezTo>
                    <a:cubicBezTo>
                      <a:pt x="644087" y="5257670"/>
                      <a:pt x="650898" y="5231203"/>
                      <a:pt x="638901" y="5210539"/>
                    </a:cubicBezTo>
                    <a:lnTo>
                      <a:pt x="872655" y="5063155"/>
                    </a:lnTo>
                    <a:cubicBezTo>
                      <a:pt x="884489" y="5077197"/>
                      <a:pt x="905466" y="5078987"/>
                      <a:pt x="919508" y="5067153"/>
                    </a:cubicBezTo>
                    <a:cubicBezTo>
                      <a:pt x="921547" y="5065436"/>
                      <a:pt x="923371" y="5063479"/>
                      <a:pt x="924942" y="5061326"/>
                    </a:cubicBezTo>
                    <a:lnTo>
                      <a:pt x="1179561" y="5195493"/>
                    </a:lnTo>
                    <a:cubicBezTo>
                      <a:pt x="1173346" y="5211450"/>
                      <a:pt x="1181244" y="5229424"/>
                      <a:pt x="1197200" y="5235638"/>
                    </a:cubicBezTo>
                    <a:cubicBezTo>
                      <a:pt x="1200356" y="5236867"/>
                      <a:pt x="1203692" y="5237571"/>
                      <a:pt x="1207076" y="5237721"/>
                    </a:cubicBezTo>
                    <a:lnTo>
                      <a:pt x="1217633" y="5509465"/>
                    </a:lnTo>
                    <a:cubicBezTo>
                      <a:pt x="1210717" y="5510294"/>
                      <a:pt x="1204057" y="5512590"/>
                      <a:pt x="1198098" y="5516198"/>
                    </a:cubicBezTo>
                    <a:cubicBezTo>
                      <a:pt x="1175585" y="5529743"/>
                      <a:pt x="1167441" y="5558431"/>
                      <a:pt x="1179478" y="5581786"/>
                    </a:cubicBezTo>
                    <a:lnTo>
                      <a:pt x="959273" y="5720608"/>
                    </a:lnTo>
                    <a:cubicBezTo>
                      <a:pt x="946057" y="5701945"/>
                      <a:pt x="920692" y="5696618"/>
                      <a:pt x="901084" y="5708389"/>
                    </a:cubicBezTo>
                    <a:cubicBezTo>
                      <a:pt x="895249" y="5711914"/>
                      <a:pt x="890345" y="5716789"/>
                      <a:pt x="886786" y="5722604"/>
                    </a:cubicBezTo>
                    <a:close/>
                    <a:moveTo>
                      <a:pt x="930428" y="5789188"/>
                    </a:moveTo>
                    <a:cubicBezTo>
                      <a:pt x="935983" y="5788345"/>
                      <a:pt x="941320" y="5786425"/>
                      <a:pt x="946139" y="5783536"/>
                    </a:cubicBezTo>
                    <a:cubicBezTo>
                      <a:pt x="965105" y="5772136"/>
                      <a:pt x="972565" y="5748365"/>
                      <a:pt x="963513" y="5728173"/>
                    </a:cubicBezTo>
                    <a:lnTo>
                      <a:pt x="1183967" y="5589184"/>
                    </a:lnTo>
                    <a:cubicBezTo>
                      <a:pt x="1200732" y="5611040"/>
                      <a:pt x="1232042" y="5615167"/>
                      <a:pt x="1253898" y="5598401"/>
                    </a:cubicBezTo>
                    <a:cubicBezTo>
                      <a:pt x="1258389" y="5594955"/>
                      <a:pt x="1262261" y="5590770"/>
                      <a:pt x="1265348" y="5586025"/>
                    </a:cubicBezTo>
                    <a:lnTo>
                      <a:pt x="1505752" y="5712628"/>
                    </a:lnTo>
                    <a:cubicBezTo>
                      <a:pt x="1500304" y="5728765"/>
                      <a:pt x="1508969" y="5746264"/>
                      <a:pt x="1525106" y="5751713"/>
                    </a:cubicBezTo>
                    <a:cubicBezTo>
                      <a:pt x="1527108" y="5752389"/>
                      <a:pt x="1529174" y="5752857"/>
                      <a:pt x="1531272" y="5753111"/>
                    </a:cubicBezTo>
                    <a:lnTo>
                      <a:pt x="1542411" y="6041313"/>
                    </a:lnTo>
                    <a:cubicBezTo>
                      <a:pt x="1538239" y="6042088"/>
                      <a:pt x="1534240" y="6043609"/>
                      <a:pt x="1530607" y="6045802"/>
                    </a:cubicBezTo>
                    <a:cubicBezTo>
                      <a:pt x="1514743" y="6055328"/>
                      <a:pt x="1508438" y="6075167"/>
                      <a:pt x="1515894" y="6092104"/>
                    </a:cubicBezTo>
                    <a:lnTo>
                      <a:pt x="1279064" y="6241733"/>
                    </a:lnTo>
                    <a:cubicBezTo>
                      <a:pt x="1266451" y="6225955"/>
                      <a:pt x="1243435" y="6223388"/>
                      <a:pt x="1227656" y="6236001"/>
                    </a:cubicBezTo>
                    <a:cubicBezTo>
                      <a:pt x="1224783" y="6238298"/>
                      <a:pt x="1222273" y="6241015"/>
                      <a:pt x="1220210" y="6244061"/>
                    </a:cubicBezTo>
                    <a:lnTo>
                      <a:pt x="979806" y="6116876"/>
                    </a:lnTo>
                    <a:cubicBezTo>
                      <a:pt x="989771" y="6094930"/>
                      <a:pt x="980059" y="6069061"/>
                      <a:pt x="958113" y="6059095"/>
                    </a:cubicBezTo>
                    <a:cubicBezTo>
                      <a:pt x="952650" y="6056615"/>
                      <a:pt x="946735" y="6055287"/>
                      <a:pt x="940736" y="6055196"/>
                    </a:cubicBezTo>
                    <a:close/>
                    <a:moveTo>
                      <a:pt x="34981" y="6343813"/>
                    </a:moveTo>
                    <a:cubicBezTo>
                      <a:pt x="39219" y="6343286"/>
                      <a:pt x="43299" y="6341870"/>
                      <a:pt x="46952" y="6339657"/>
                    </a:cubicBezTo>
                    <a:cubicBezTo>
                      <a:pt x="61068" y="6331187"/>
                      <a:pt x="66135" y="6313180"/>
                      <a:pt x="58506" y="6298592"/>
                    </a:cubicBezTo>
                    <a:lnTo>
                      <a:pt x="297996" y="6147633"/>
                    </a:lnTo>
                    <a:cubicBezTo>
                      <a:pt x="309383" y="6162412"/>
                      <a:pt x="330024" y="6166341"/>
                      <a:pt x="346044" y="6156777"/>
                    </a:cubicBezTo>
                    <a:cubicBezTo>
                      <a:pt x="351068" y="6153681"/>
                      <a:pt x="355285" y="6149436"/>
                      <a:pt x="358346" y="6144391"/>
                    </a:cubicBezTo>
                    <a:lnTo>
                      <a:pt x="598667" y="6270994"/>
                    </a:lnTo>
                    <a:cubicBezTo>
                      <a:pt x="593097" y="6283856"/>
                      <a:pt x="594056" y="6298613"/>
                      <a:pt x="601244" y="6310646"/>
                    </a:cubicBezTo>
                    <a:cubicBezTo>
                      <a:pt x="608815" y="6323214"/>
                      <a:pt x="622166" y="6331168"/>
                      <a:pt x="636823" y="6331843"/>
                    </a:cubicBezTo>
                    <a:lnTo>
                      <a:pt x="647131" y="6596520"/>
                    </a:lnTo>
                    <a:cubicBezTo>
                      <a:pt x="641269" y="6597386"/>
                      <a:pt x="635627" y="6599361"/>
                      <a:pt x="630505" y="6602339"/>
                    </a:cubicBezTo>
                    <a:cubicBezTo>
                      <a:pt x="610540" y="6614397"/>
                      <a:pt x="603554" y="6640002"/>
                      <a:pt x="614628" y="6660529"/>
                    </a:cubicBezTo>
                    <a:lnTo>
                      <a:pt x="379876" y="6808827"/>
                    </a:lnTo>
                    <a:cubicBezTo>
                      <a:pt x="370351" y="6795578"/>
                      <a:pt x="352202" y="6791948"/>
                      <a:pt x="338313" y="6800515"/>
                    </a:cubicBezTo>
                    <a:cubicBezTo>
                      <a:pt x="334261" y="6803016"/>
                      <a:pt x="330823" y="6806397"/>
                      <a:pt x="328254" y="6810407"/>
                    </a:cubicBezTo>
                    <a:lnTo>
                      <a:pt x="85606" y="6682557"/>
                    </a:lnTo>
                    <a:cubicBezTo>
                      <a:pt x="91318" y="6669558"/>
                      <a:pt x="90389" y="6654599"/>
                      <a:pt x="83112" y="6642406"/>
                    </a:cubicBezTo>
                    <a:cubicBezTo>
                      <a:pt x="75209" y="6629294"/>
                      <a:pt x="61014" y="6621282"/>
                      <a:pt x="45705" y="6621292"/>
                    </a:cubicBezTo>
                    <a:close/>
                  </a:path>
                </a:pathLst>
              </a:custGeom>
              <a:grpFill/>
              <a:ln w="830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b-NO" dirty="0"/>
              </a:p>
            </p:txBody>
          </p:sp>
        </p:grp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00BF8A8-31E9-4A4B-B9BA-9FE7BB70DD8E}"/>
                </a:ext>
              </a:extLst>
            </p:cNvPr>
            <p:cNvSpPr/>
            <p:nvPr userDrawn="1"/>
          </p:nvSpPr>
          <p:spPr>
            <a:xfrm>
              <a:off x="4441824" y="645002"/>
              <a:ext cx="112236" cy="112236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C099143-A5BE-4445-9730-C926A02CBB61}"/>
                </a:ext>
              </a:extLst>
            </p:cNvPr>
            <p:cNvSpPr/>
            <p:nvPr userDrawn="1"/>
          </p:nvSpPr>
          <p:spPr>
            <a:xfrm>
              <a:off x="3571875" y="1222851"/>
              <a:ext cx="66199" cy="66199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FA5F416-9406-41A9-943C-E3D04C99E2BF}"/>
                </a:ext>
              </a:extLst>
            </p:cNvPr>
            <p:cNvSpPr/>
            <p:nvPr userDrawn="1"/>
          </p:nvSpPr>
          <p:spPr>
            <a:xfrm>
              <a:off x="937104" y="4315109"/>
              <a:ext cx="60042" cy="60042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67FA7567-D089-4A8D-8F55-A9B258446C00}"/>
                </a:ext>
              </a:extLst>
            </p:cNvPr>
            <p:cNvSpPr/>
            <p:nvPr userDrawn="1"/>
          </p:nvSpPr>
          <p:spPr>
            <a:xfrm>
              <a:off x="587852" y="3436937"/>
              <a:ext cx="82551" cy="82551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EFFA2C3-13E4-40C6-9C04-600B179E236B}"/>
                </a:ext>
              </a:extLst>
            </p:cNvPr>
            <p:cNvSpPr/>
            <p:nvPr userDrawn="1"/>
          </p:nvSpPr>
          <p:spPr>
            <a:xfrm>
              <a:off x="1067300" y="560825"/>
              <a:ext cx="168354" cy="168354"/>
            </a:xfrm>
            <a:prstGeom prst="ellips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DFF15D9-CD8A-4303-A5A0-7C37D688997A}"/>
                </a:ext>
              </a:extLst>
            </p:cNvPr>
            <p:cNvSpPr/>
            <p:nvPr userDrawn="1"/>
          </p:nvSpPr>
          <p:spPr>
            <a:xfrm>
              <a:off x="6812721" y="949878"/>
              <a:ext cx="112236" cy="112236"/>
            </a:xfrm>
            <a:prstGeom prst="ellipse">
              <a:avLst/>
            </a:prstGeom>
            <a:noFill/>
            <a:ln w="1587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D849AB52-2975-4D3E-A0E6-3D48A617CA03}"/>
                </a:ext>
              </a:extLst>
            </p:cNvPr>
            <p:cNvSpPr/>
            <p:nvPr userDrawn="1"/>
          </p:nvSpPr>
          <p:spPr>
            <a:xfrm>
              <a:off x="148592" y="81514"/>
              <a:ext cx="112236" cy="112236"/>
            </a:xfrm>
            <a:prstGeom prst="ellipse">
              <a:avLst/>
            </a:prstGeom>
            <a:noFill/>
            <a:ln w="15875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pic>
        <p:nvPicPr>
          <p:cNvPr id="2" name="Logo NHN">
            <a:extLst>
              <a:ext uri="{FF2B5EF4-FFF2-40B4-BE49-F238E27FC236}">
                <a16:creationId xmlns:a16="http://schemas.microsoft.com/office/drawing/2014/main" id="{F3298F84-9DAD-415B-BDDD-9E8A5D1CE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8993" y="6325399"/>
            <a:ext cx="1346381" cy="140767"/>
          </a:xfrm>
          <a:prstGeom prst="rect">
            <a:avLst/>
          </a:prstGeom>
        </p:spPr>
      </p:pic>
      <p:sp>
        <p:nvSpPr>
          <p:cNvPr id="13" name="Undertekst">
            <a:extLst>
              <a:ext uri="{FF2B5EF4-FFF2-40B4-BE49-F238E27FC236}">
                <a16:creationId xmlns:a16="http://schemas.microsoft.com/office/drawing/2014/main" id="{6A94F79C-33C7-442B-8B8E-98314156A1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80000" y="4680000"/>
            <a:ext cx="8607560" cy="574675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ts val="2000"/>
              </a:lnSpc>
              <a:buFontTx/>
              <a:buNone/>
              <a:defRPr sz="1800" i="1">
                <a:solidFill>
                  <a:schemeClr val="tx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undertekst</a:t>
            </a:r>
            <a:r>
              <a:rPr lang="en-US" dirty="0"/>
              <a:t>, </a:t>
            </a:r>
            <a:r>
              <a:rPr lang="en-US" dirty="0" err="1"/>
              <a:t>eksempelvis</a:t>
            </a:r>
            <a:r>
              <a:rPr lang="en-US" dirty="0"/>
              <a:t> </a:t>
            </a:r>
            <a:r>
              <a:rPr lang="en-US" dirty="0" err="1"/>
              <a:t>tid</a:t>
            </a:r>
            <a:r>
              <a:rPr lang="en-US" dirty="0"/>
              <a:t>, </a:t>
            </a:r>
            <a:r>
              <a:rPr lang="en-US" dirty="0" err="1"/>
              <a:t>sted</a:t>
            </a:r>
            <a:r>
              <a:rPr lang="en-US" dirty="0"/>
              <a:t>, </a:t>
            </a:r>
            <a:r>
              <a:rPr lang="en-US" dirty="0" err="1"/>
              <a:t>foredragsholder</a:t>
            </a:r>
            <a:r>
              <a:rPr lang="en-US" dirty="0"/>
              <a:t> </a:t>
            </a:r>
            <a:r>
              <a:rPr lang="en-US" dirty="0" err="1"/>
              <a:t>m.m.</a:t>
            </a:r>
            <a:endParaRPr lang="en-US" dirty="0"/>
          </a:p>
        </p:txBody>
      </p:sp>
      <p:sp>
        <p:nvSpPr>
          <p:cNvPr id="11" name="Undertittel">
            <a:extLst>
              <a:ext uri="{FF2B5EF4-FFF2-40B4-BE49-F238E27FC236}">
                <a16:creationId xmlns:a16="http://schemas.microsoft.com/office/drawing/2014/main" id="{EBED499B-6BC4-413D-AA5F-7218822784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0000" y="2954157"/>
            <a:ext cx="8607560" cy="48013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lang="nb-NO" sz="2800" dirty="0">
                <a:solidFill>
                  <a:schemeClr val="accent4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undertittel</a:t>
            </a:r>
            <a:endParaRPr lang="nb-NO" dirty="0"/>
          </a:p>
        </p:txBody>
      </p:sp>
      <p:sp>
        <p:nvSpPr>
          <p:cNvPr id="9" name="Tittel">
            <a:extLst>
              <a:ext uri="{FF2B5EF4-FFF2-40B4-BE49-F238E27FC236}">
                <a16:creationId xmlns:a16="http://schemas.microsoft.com/office/drawing/2014/main" id="{B4080B7B-AB02-4FC5-9B18-6273170AF3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2307826"/>
            <a:ext cx="8607560" cy="64633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lvl1pPr>
              <a:defRPr lang="nb-NO" sz="4000" cap="all" baseline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titt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1200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3EB455FB-351A-412C-A8B3-1C9669554CB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175500" y="0"/>
            <a:ext cx="5016500" cy="6858000"/>
          </a:xfrm>
          <a:custGeom>
            <a:avLst/>
            <a:gdLst>
              <a:gd name="connsiteX0" fmla="*/ 1837596 w 5016500"/>
              <a:gd name="connsiteY0" fmla="*/ 0 h 6858000"/>
              <a:gd name="connsiteX1" fmla="*/ 4927600 w 5016500"/>
              <a:gd name="connsiteY1" fmla="*/ 0 h 6858000"/>
              <a:gd name="connsiteX2" fmla="*/ 5016500 w 5016500"/>
              <a:gd name="connsiteY2" fmla="*/ 0 h 6858000"/>
              <a:gd name="connsiteX3" fmla="*/ 5016500 w 5016500"/>
              <a:gd name="connsiteY3" fmla="*/ 6858000 h 6858000"/>
              <a:gd name="connsiteX4" fmla="*/ 4927600 w 5016500"/>
              <a:gd name="connsiteY4" fmla="*/ 6858000 h 6858000"/>
              <a:gd name="connsiteX5" fmla="*/ 0 w 50165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16500" h="6858000">
                <a:moveTo>
                  <a:pt x="1837596" y="0"/>
                </a:moveTo>
                <a:lnTo>
                  <a:pt x="4927600" y="0"/>
                </a:lnTo>
                <a:lnTo>
                  <a:pt x="5016500" y="0"/>
                </a:lnTo>
                <a:lnTo>
                  <a:pt x="5016500" y="6858000"/>
                </a:lnTo>
                <a:lnTo>
                  <a:pt x="4927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4616C"/>
          </a:solidFill>
          <a:effectLst>
            <a:innerShdw dist="952500" dir="10800000">
              <a:srgbClr val="2C3845">
                <a:alpha val="50000"/>
              </a:srgbClr>
            </a:innerShdw>
          </a:effectLst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nb-NO" dirty="0"/>
              <a:t> </a:t>
            </a:r>
          </a:p>
        </p:txBody>
      </p:sp>
      <p:sp>
        <p:nvSpPr>
          <p:cNvPr id="5" name="Undertittel">
            <a:extLst>
              <a:ext uri="{FF2B5EF4-FFF2-40B4-BE49-F238E27FC236}">
                <a16:creationId xmlns:a16="http://schemas.microsoft.com/office/drawing/2014/main" id="{AB31E8A7-9805-4A7E-A71C-C28D54E61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0000" y="3429000"/>
            <a:ext cx="6590800" cy="64611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nb-NO" sz="2800" dirty="0">
                <a:solidFill>
                  <a:schemeClr val="accent4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undertittel</a:t>
            </a:r>
            <a:endParaRPr lang="nb-NO" dirty="0"/>
          </a:p>
        </p:txBody>
      </p:sp>
      <p:sp>
        <p:nvSpPr>
          <p:cNvPr id="6" name="Seksjonstittel">
            <a:extLst>
              <a:ext uri="{FF2B5EF4-FFF2-40B4-BE49-F238E27FC236}">
                <a16:creationId xmlns:a16="http://schemas.microsoft.com/office/drawing/2014/main" id="{1BA5B84C-578D-4424-8CDB-4D92272AF3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2893469"/>
            <a:ext cx="6590800" cy="53553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>
            <a:lvl1pPr>
              <a:defRPr lang="nb-NO" sz="3200" cap="all" baseline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eksjonstitt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2220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5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en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3B6F4B0-07BA-42C9-8947-DCEFD42BDC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0000" y="1980001"/>
            <a:ext cx="10055360" cy="43192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7C37DFD1-D17A-426B-A92F-FB07CE788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983531"/>
            <a:ext cx="10055360" cy="533205"/>
          </a:xfrm>
          <a:prstGeom prst="rect">
            <a:avLst/>
          </a:prstGeom>
        </p:spPr>
        <p:txBody>
          <a:bodyPr wrap="square" lIns="72000" tIns="108000" rIns="72000" bIns="36000">
            <a:spAutoFit/>
          </a:bodyPr>
          <a:lstStyle>
            <a:lvl1pPr>
              <a:defRPr sz="280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dirty="0"/>
              <a:t>Legg til overskrift</a:t>
            </a:r>
          </a:p>
        </p:txBody>
      </p:sp>
      <p:sp>
        <p:nvSpPr>
          <p:cNvPr id="13" name="Stikktittel">
            <a:extLst>
              <a:ext uri="{FF2B5EF4-FFF2-40B4-BE49-F238E27FC236}">
                <a16:creationId xmlns:a16="http://schemas.microsoft.com/office/drawing/2014/main" id="{8345D0F9-286D-489D-92E8-91C847663B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0000" y="641899"/>
            <a:ext cx="10055360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180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tikk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089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D39F3E9-A78A-4736-8F70-E3518572F4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0000" y="1980001"/>
            <a:ext cx="4665480" cy="43192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1A6CC8-3E38-4229-83AF-EAFDA7AA9A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46520" y="1980001"/>
            <a:ext cx="4665480" cy="43192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FBC4E1C3-DB98-4CC2-98BF-AF074C162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983531"/>
            <a:ext cx="10055360" cy="533205"/>
          </a:xfrm>
          <a:prstGeom prst="rect">
            <a:avLst/>
          </a:prstGeom>
        </p:spPr>
        <p:txBody>
          <a:bodyPr wrap="square" lIns="72000" tIns="108000" rIns="72000" bIns="36000">
            <a:spAutoFit/>
          </a:bodyPr>
          <a:lstStyle>
            <a:lvl1pPr>
              <a:defRPr sz="280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dirty="0"/>
              <a:t>Legg til overskrift</a:t>
            </a:r>
          </a:p>
        </p:txBody>
      </p:sp>
      <p:sp>
        <p:nvSpPr>
          <p:cNvPr id="15" name="Stikktittel">
            <a:extLst>
              <a:ext uri="{FF2B5EF4-FFF2-40B4-BE49-F238E27FC236}">
                <a16:creationId xmlns:a16="http://schemas.microsoft.com/office/drawing/2014/main" id="{ADCFB8BC-8F8B-406A-9B7E-BB4397FA77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0000" y="641899"/>
            <a:ext cx="10055360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180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tikk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05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17EBEB45-8AC1-4E39-9796-8B687EA9A8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95360" y="1978802"/>
            <a:ext cx="3240000" cy="43192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C1A6CC8-3E38-4229-83AF-EAFDA7AA9A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87680" y="1980001"/>
            <a:ext cx="3240000" cy="43192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7D39F3E9-A78A-4736-8F70-E3518572F4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0000" y="1980001"/>
            <a:ext cx="3240000" cy="43192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Title 6">
            <a:extLst>
              <a:ext uri="{FF2B5EF4-FFF2-40B4-BE49-F238E27FC236}">
                <a16:creationId xmlns:a16="http://schemas.microsoft.com/office/drawing/2014/main" id="{FBC4E1C3-DB98-4CC2-98BF-AF074C162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983531"/>
            <a:ext cx="10055360" cy="533205"/>
          </a:xfrm>
          <a:prstGeom prst="rect">
            <a:avLst/>
          </a:prstGeom>
        </p:spPr>
        <p:txBody>
          <a:bodyPr wrap="square" lIns="72000" tIns="108000" rIns="72000" bIns="36000">
            <a:spAutoFit/>
          </a:bodyPr>
          <a:lstStyle>
            <a:lvl1pPr>
              <a:defRPr sz="280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dirty="0"/>
              <a:t>Legg til overskrift</a:t>
            </a:r>
          </a:p>
        </p:txBody>
      </p:sp>
      <p:sp>
        <p:nvSpPr>
          <p:cNvPr id="15" name="Stikktittel">
            <a:extLst>
              <a:ext uri="{FF2B5EF4-FFF2-40B4-BE49-F238E27FC236}">
                <a16:creationId xmlns:a16="http://schemas.microsoft.com/office/drawing/2014/main" id="{ADCFB8BC-8F8B-406A-9B7E-BB4397FA77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0000" y="641899"/>
            <a:ext cx="10055360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180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tikk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73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C9BCF94-07F5-492E-A848-434DDBF9D63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6543B98C-9DEC-4594-B553-2286360C3A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983531"/>
            <a:ext cx="5348754" cy="588605"/>
          </a:xfrm>
          <a:prstGeom prst="rect">
            <a:avLst/>
          </a:prstGeom>
          <a:solidFill>
            <a:srgbClr val="000000"/>
          </a:solidFill>
        </p:spPr>
        <p:txBody>
          <a:bodyPr wrap="none" lIns="72000" tIns="108000" rIns="72000" bIns="36000">
            <a:spAutoFit/>
          </a:bodyPr>
          <a:lstStyle>
            <a:lvl1pPr>
              <a:defRPr sz="320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dirty="0"/>
              <a:t>Legg til overskrift</a:t>
            </a:r>
          </a:p>
        </p:txBody>
      </p:sp>
      <p:sp>
        <p:nvSpPr>
          <p:cNvPr id="10" name="Stikktittel">
            <a:extLst>
              <a:ext uri="{FF2B5EF4-FFF2-40B4-BE49-F238E27FC236}">
                <a16:creationId xmlns:a16="http://schemas.microsoft.com/office/drawing/2014/main" id="{CF3C727B-149C-4DDE-B934-39B71548D7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0000" y="558799"/>
            <a:ext cx="2443298" cy="424732"/>
          </a:xfrm>
          <a:prstGeom prst="rect">
            <a:avLst/>
          </a:prstGeom>
          <a:solidFill>
            <a:srgbClr val="000000"/>
          </a:solidFill>
        </p:spPr>
        <p:txBody>
          <a:bodyPr wrap="none" anchor="b" anchorCtr="0">
            <a:spAutoFit/>
          </a:bodyPr>
          <a:lstStyle>
            <a:lvl1pPr marL="0" indent="0">
              <a:buNone/>
              <a:defRPr sz="240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tikk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38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kun innled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6">
            <a:extLst>
              <a:ext uri="{FF2B5EF4-FFF2-40B4-BE49-F238E27FC236}">
                <a16:creationId xmlns:a16="http://schemas.microsoft.com/office/drawing/2014/main" id="{6543B98C-9DEC-4594-B553-2286360C3A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983531"/>
            <a:ext cx="10055360" cy="533205"/>
          </a:xfrm>
          <a:prstGeom prst="rect">
            <a:avLst/>
          </a:prstGeom>
        </p:spPr>
        <p:txBody>
          <a:bodyPr wrap="square" lIns="72000" tIns="108000" rIns="72000" bIns="36000">
            <a:spAutoFit/>
          </a:bodyPr>
          <a:lstStyle>
            <a:lvl1pPr>
              <a:defRPr sz="280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dirty="0"/>
              <a:t>Legg til overskrift</a:t>
            </a:r>
          </a:p>
        </p:txBody>
      </p:sp>
      <p:sp>
        <p:nvSpPr>
          <p:cNvPr id="10" name="Stikktittel">
            <a:extLst>
              <a:ext uri="{FF2B5EF4-FFF2-40B4-BE49-F238E27FC236}">
                <a16:creationId xmlns:a16="http://schemas.microsoft.com/office/drawing/2014/main" id="{CF3C727B-149C-4DDE-B934-39B71548D7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0000" y="641899"/>
            <a:ext cx="10055360" cy="34163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180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tikk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54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- sentrert budsk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>
            <a:extLst>
              <a:ext uri="{FF2B5EF4-FFF2-40B4-BE49-F238E27FC236}">
                <a16:creationId xmlns:a16="http://schemas.microsoft.com/office/drawing/2014/main" id="{5C115287-2309-48B4-BCA9-302D816A2E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0827" y="919635"/>
            <a:ext cx="9430347" cy="5018730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 algn="ctr">
              <a:defRPr sz="32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b-NO" dirty="0"/>
              <a:t>[Budskap]</a:t>
            </a:r>
          </a:p>
        </p:txBody>
      </p:sp>
    </p:spTree>
    <p:extLst>
      <p:ext uri="{BB962C8B-B14F-4D97-AF65-F5344CB8AC3E}">
        <p14:creationId xmlns:p14="http://schemas.microsoft.com/office/powerpoint/2010/main" val="3171465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18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85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177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3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7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0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4638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837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00175" y="2553186"/>
            <a:ext cx="8569629" cy="414338"/>
          </a:xfrm>
        </p:spPr>
        <p:txBody>
          <a:bodyPr anchor="b">
            <a:normAutofit/>
          </a:bodyPr>
          <a:lstStyle>
            <a:lvl1pPr algn="l">
              <a:defRPr sz="29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900176" y="3324721"/>
            <a:ext cx="5608065" cy="165576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085" indent="0" algn="ctr">
              <a:buNone/>
              <a:defRPr sz="2000"/>
            </a:lvl2pPr>
            <a:lvl3pPr marL="914175" indent="0" algn="ctr">
              <a:buNone/>
              <a:defRPr sz="1800"/>
            </a:lvl3pPr>
            <a:lvl4pPr marL="1371260" indent="0" algn="ctr">
              <a:buNone/>
              <a:defRPr sz="1600"/>
            </a:lvl4pPr>
            <a:lvl5pPr marL="1828345" indent="0" algn="ctr">
              <a:buNone/>
              <a:defRPr sz="1600"/>
            </a:lvl5pPr>
            <a:lvl6pPr marL="2285430" indent="0" algn="ctr">
              <a:buNone/>
              <a:defRPr sz="1600"/>
            </a:lvl6pPr>
            <a:lvl7pPr marL="2742515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5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982" y="1188000"/>
            <a:ext cx="1145018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4"/>
            <a:ext cx="1584103" cy="1077915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11046986" y="1188000"/>
            <a:ext cx="1144875" cy="44586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645091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2727522" y="2553186"/>
            <a:ext cx="8569629" cy="414338"/>
          </a:xfrm>
        </p:spPr>
        <p:txBody>
          <a:bodyPr anchor="b">
            <a:normAutofit/>
          </a:bodyPr>
          <a:lstStyle>
            <a:lvl1pPr algn="r">
              <a:defRPr sz="29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689082" y="3324721"/>
            <a:ext cx="5608065" cy="1655762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457085" indent="0" algn="ctr">
              <a:buNone/>
              <a:defRPr sz="2000"/>
            </a:lvl2pPr>
            <a:lvl3pPr marL="914175" indent="0" algn="ctr">
              <a:buNone/>
              <a:defRPr sz="1800"/>
            </a:lvl3pPr>
            <a:lvl4pPr marL="1371260" indent="0" algn="ctr">
              <a:buNone/>
              <a:defRPr sz="1600"/>
            </a:lvl4pPr>
            <a:lvl5pPr marL="1828345" indent="0" algn="ctr">
              <a:buNone/>
              <a:defRPr sz="1600"/>
            </a:lvl5pPr>
            <a:lvl6pPr marL="2285430" indent="0" algn="ctr">
              <a:buNone/>
              <a:defRPr sz="1600"/>
            </a:lvl6pPr>
            <a:lvl7pPr marL="2742515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5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7" y="720090"/>
            <a:ext cx="1577246" cy="108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36" y="720090"/>
            <a:ext cx="1584103" cy="1084236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720047" y="720000"/>
            <a:ext cx="1584103" cy="10836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47" y="720004"/>
            <a:ext cx="1584103" cy="107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7218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79556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477893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4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463689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135488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41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30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20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698241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4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274030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710207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085" indent="0">
              <a:buNone/>
              <a:defRPr sz="2000" b="1"/>
            </a:lvl2pPr>
            <a:lvl3pPr marL="914175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5" indent="0">
              <a:buNone/>
              <a:defRPr sz="1600" b="1"/>
            </a:lvl5pPr>
            <a:lvl6pPr marL="2285430" indent="0">
              <a:buNone/>
              <a:defRPr sz="1600" b="1"/>
            </a:lvl6pPr>
            <a:lvl7pPr marL="2742515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5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085" indent="0">
              <a:buNone/>
              <a:defRPr sz="2000" b="1"/>
            </a:lvl2pPr>
            <a:lvl3pPr marL="914175" indent="0">
              <a:buNone/>
              <a:defRPr sz="1800" b="1"/>
            </a:lvl3pPr>
            <a:lvl4pPr marL="1371260" indent="0">
              <a:buNone/>
              <a:defRPr sz="1600" b="1"/>
            </a:lvl4pPr>
            <a:lvl5pPr marL="1828345" indent="0">
              <a:buNone/>
              <a:defRPr sz="1600" b="1"/>
            </a:lvl5pPr>
            <a:lvl6pPr marL="2285430" indent="0">
              <a:buNone/>
              <a:defRPr sz="1600" b="1"/>
            </a:lvl6pPr>
            <a:lvl7pPr marL="2742515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5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563441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423979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260071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272494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07989" y="1412876"/>
            <a:ext cx="11376025" cy="50403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85000"/>
              </a:lnSpc>
            </a:pPr>
            <a:r>
              <a:rPr lang="sv-SE"/>
              <a:t>Direktoratet for e-helse - Kickoff 29-30/8-2019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© 2019 Capgemini. All rights reserved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205EFF-948D-4AF6-B54C-65639188FB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828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hold - en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3B6F4B0-07BA-42C9-8947-DCEFD42BDC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80000" y="1980001"/>
            <a:ext cx="10055360" cy="431920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2C3845"/>
                </a:solidFill>
              </a:defRPr>
            </a:lvl1pPr>
            <a:lvl2pPr>
              <a:defRPr sz="1400">
                <a:solidFill>
                  <a:srgbClr val="2C3845"/>
                </a:solidFill>
              </a:defRPr>
            </a:lvl2pPr>
            <a:lvl3pPr>
              <a:defRPr sz="1200">
                <a:solidFill>
                  <a:srgbClr val="2C3845"/>
                </a:solidFill>
              </a:defRPr>
            </a:lvl3pPr>
            <a:lvl4pPr>
              <a:defRPr sz="1200">
                <a:solidFill>
                  <a:srgbClr val="2C3845"/>
                </a:solidFill>
              </a:defRPr>
            </a:lvl4pPr>
            <a:lvl5pPr>
              <a:defRPr sz="1200">
                <a:solidFill>
                  <a:srgbClr val="2C3845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7C37DFD1-D17A-426B-A92F-FB07CE788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0000" y="947181"/>
            <a:ext cx="10055360" cy="533205"/>
          </a:xfrm>
          <a:prstGeom prst="rect">
            <a:avLst/>
          </a:prstGeom>
        </p:spPr>
        <p:txBody>
          <a:bodyPr wrap="square" lIns="72000" tIns="108000" rIns="72000" bIns="36000">
            <a:spAutoFit/>
          </a:bodyPr>
          <a:lstStyle>
            <a:lvl1pPr>
              <a:defRPr sz="2800" cap="all" baseline="0">
                <a:solidFill>
                  <a:srgbClr val="2C3845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nb-NO" dirty="0"/>
              <a:t>Legg til overskrift</a:t>
            </a:r>
          </a:p>
        </p:txBody>
      </p:sp>
      <p:sp>
        <p:nvSpPr>
          <p:cNvPr id="13" name="Stikktittel">
            <a:extLst>
              <a:ext uri="{FF2B5EF4-FFF2-40B4-BE49-F238E27FC236}">
                <a16:creationId xmlns:a16="http://schemas.microsoft.com/office/drawing/2014/main" id="{8345D0F9-286D-489D-92E8-91C847663B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0000" y="706533"/>
            <a:ext cx="10055360" cy="27699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1800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Legg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tikk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21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20136" y="1908000"/>
            <a:ext cx="10784050" cy="424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27996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888096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720136" y="1818000"/>
            <a:ext cx="5275002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877962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720137" y="1818000"/>
            <a:ext cx="3528671" cy="4329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434782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7975516" y="1818000"/>
            <a:ext cx="3528671" cy="4329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833473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1908239"/>
            <a:ext cx="12192000" cy="423953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703706" y="1333500"/>
            <a:ext cx="10800480" cy="371475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748221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3718" cy="6416002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209389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19741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229184" y="1816799"/>
            <a:ext cx="5275002" cy="540068"/>
          </a:xfrm>
        </p:spPr>
        <p:txBody>
          <a:bodyPr anchor="t">
            <a:normAutofit/>
          </a:bodyPr>
          <a:lstStyle>
            <a:lvl1pPr marL="0" indent="0">
              <a:buNone/>
              <a:defRPr sz="2200" b="1"/>
            </a:lvl1pPr>
            <a:lvl2pPr marL="457177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3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7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719741" y="2356866"/>
            <a:ext cx="5275002" cy="379013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6229184" y="2356866"/>
            <a:ext cx="5275002" cy="379013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10210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1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30.xml"/><Relationship Id="rId19" Type="http://schemas.openxmlformats.org/officeDocument/2006/relationships/image" Target="../media/image9.emf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48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78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5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517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6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2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8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4000" indent="-270000" algn="l" defTabSz="91435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475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7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C38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9593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227885804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 hidden="1">
            <a:extLst>
              <a:ext uri="{FF2B5EF4-FFF2-40B4-BE49-F238E27FC236}">
                <a16:creationId xmlns:a16="http://schemas.microsoft.com/office/drawing/2014/main" id="{2D9C029F-CCE9-4A53-89A0-34AB0C8DB662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79380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0136" y="1818238"/>
            <a:ext cx="10784050" cy="43295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880552" y="6534817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655982" y="6534817"/>
            <a:ext cx="540102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986219" y="6534817"/>
            <a:ext cx="718095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82" y="6547418"/>
            <a:ext cx="2027158" cy="15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6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</p:sldLayoutIdLst>
  <p:hf hdr="0" ftr="0" dt="0"/>
  <p:txStyles>
    <p:titleStyle>
      <a:lvl1pPr algn="l" defTabSz="914175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69948" indent="-269948" algn="l" defTabSz="91417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200" kern="1200">
          <a:solidFill>
            <a:srgbClr val="000000"/>
          </a:solidFill>
          <a:latin typeface="+mn-lt"/>
          <a:ea typeface="+mn-ea"/>
          <a:cs typeface="+mn-cs"/>
        </a:defRPr>
      </a:lvl1pPr>
      <a:lvl2pPr marL="485904" indent="-269948" algn="l" defTabSz="91417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2pPr>
      <a:lvl3pPr marL="701860" indent="-269948" algn="l" defTabSz="91417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917816" indent="-269948" algn="l" defTabSz="91417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1133776" indent="-269948" algn="l" defTabSz="914175" rtl="0" eaLnBrk="1" latinLnBrk="0" hangingPunct="1">
        <a:lnSpc>
          <a:spcPct val="100000"/>
        </a:lnSpc>
        <a:spcBef>
          <a:spcPts val="250"/>
        </a:spcBef>
        <a:buClr>
          <a:schemeClr val="tx2"/>
        </a:buClr>
        <a:buFont typeface="Wingdings 2" panose="05020102010507070707" pitchFamily="18" charset="2"/>
        <a:buChar char="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3975" indent="-228545" algn="l" defTabSz="9141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60" indent="-228545" algn="l" defTabSz="9141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5" indent="-228545" algn="l" defTabSz="9141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30" indent="-228545" algn="l" defTabSz="9141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5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5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60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5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30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5" algn="l" defTabSz="91417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30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svg"/><Relationship Id="rId11" Type="http://schemas.openxmlformats.org/officeDocument/2006/relationships/image" Target="../media/image29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21.svg"/><Relationship Id="rId9" Type="http://schemas.openxmlformats.org/officeDocument/2006/relationships/image" Target="../media/image2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publicdomainpictures.net/en/view-image.php?image=263574&amp;picture=silhouette-sorry-forgive-angry" TargetMode="Externa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www.publicdomainpictures.net/en/view-image.php?image=263574&amp;picture=silhouette-sorry-forgive-angry" TargetMode="Externa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69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dertsirkel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11046661" y="1188000"/>
            <a:ext cx="1144943" cy="44577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pic>
        <p:nvPicPr>
          <p:cNvPr id="14" name="Hvit_logo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487" y="720090"/>
            <a:ext cx="1584000" cy="108423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dirty="0">
                <a:solidFill>
                  <a:srgbClr val="FFFFFF"/>
                </a:solidFill>
              </a:rPr>
              <a:t>Teknisk beregningsutvalg for nasjonale e-helseløsninger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>
                <a:solidFill>
                  <a:srgbClr val="FFFFFF"/>
                </a:solidFill>
              </a:rPr>
              <a:t>3. september 2020</a:t>
            </a:r>
          </a:p>
        </p:txBody>
      </p:sp>
    </p:spTree>
    <p:extLst>
      <p:ext uri="{BB962C8B-B14F-4D97-AF65-F5344CB8AC3E}">
        <p14:creationId xmlns:p14="http://schemas.microsoft.com/office/powerpoint/2010/main" val="10963590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A1D62536-357B-4A83-A731-7977038338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sz="2800" dirty="0"/>
              <a:t>NHN presenterte våren 2020 et tallgrunnlag for TBU, hvor tallene var hentet fra </a:t>
            </a:r>
            <a:r>
              <a:rPr lang="nb-NO" sz="2800" dirty="0" err="1"/>
              <a:t>NHN's</a:t>
            </a:r>
            <a:r>
              <a:rPr lang="nb-NO" sz="2800" dirty="0"/>
              <a:t> styrevedtatte budsjett for 2020. </a:t>
            </a:r>
          </a:p>
          <a:p>
            <a:r>
              <a:rPr lang="nb-NO" sz="2800" dirty="0"/>
              <a:t>NHN har utarbeidet </a:t>
            </a:r>
            <a:r>
              <a:rPr lang="nb-NO" sz="2800" dirty="0" err="1"/>
              <a:t>årsprognose</a:t>
            </a:r>
            <a:r>
              <a:rPr lang="nb-NO" sz="2800" dirty="0"/>
              <a:t> for 2020 basert på faktiske regnskapsførte tall per mai 2020. Disse prognosene vil naturlig avvike fra budsjett, og i 2020 er det to vesentlige faktorer som påvirker tallene: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sz="2000" dirty="0"/>
              <a:t>Budsjettet ble utarbeidet før alle konsekvenser av virksomhetsoverdragelsen fra Direktoratet for </a:t>
            </a:r>
            <a:r>
              <a:rPr lang="nb-NO" sz="2000" dirty="0" err="1"/>
              <a:t>e-helse</a:t>
            </a:r>
            <a:r>
              <a:rPr lang="nb-NO" sz="2000" dirty="0"/>
              <a:t> var kjent og før samkjøring av to ulike regnskapsprinsipper. 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sz="2000" dirty="0"/>
              <a:t>Budsjettet tok naturlig nok ikke høyde for koronasituasjonen og hvordan dette påvirket aktivitetsnivået i NHN.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648B9A97-2508-4795-8CC8-E29FD5707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udsjett og prognose 2020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EBEBED2B-A83B-4CDD-8C23-2E037F155F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688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6D802347-7577-447D-8C27-5AF1FB413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rognose 2020 - De nasjonale løsningene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913D46A8-76C6-4A29-A00C-37D9B27240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41CFBE8E-4FD7-4ACF-BE70-7C56114568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3073" y="2444699"/>
            <a:ext cx="9785853" cy="1968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02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F2714F4-3FF8-43AA-A006-B06E11EB2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udsjett 2021 – de nasjonale løsningene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74B41E0-74D1-4B00-B9CC-30824E2106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832E33C-FCD9-4ADE-BE5F-3BF308F409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1513" y="2474685"/>
            <a:ext cx="10508974" cy="2304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401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DEBF3471-9438-44E1-A685-2408B977F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Grunndata 2021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5DEB511-F49A-4E0E-B95B-4E3331EED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E846D77F-6BA9-49FF-98BD-4834B2C9F6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887" y="1858368"/>
            <a:ext cx="10522226" cy="1705438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DC9ECE9B-8FAC-4E0E-B782-5E39766902FA}"/>
              </a:ext>
            </a:extLst>
          </p:cNvPr>
          <p:cNvSpPr txBox="1"/>
          <p:nvPr/>
        </p:nvSpPr>
        <p:spPr>
          <a:xfrm>
            <a:off x="846567" y="3811877"/>
            <a:ext cx="1052222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bedringsbehov: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Migrering av dagens grunndataplattform til ny modernisert plattform (ca. 10 millioner kroner)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Migrering av HPR og FLR i dagens plattform til å synke mot ny persontjeneste (ca. 1,5 millioner kroner)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Tilgjengeliggjøring av Grunndata API via API Management løsning (ca. 1,0 millioner kroner)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Innføringsstøtte mot sektoren knyttet til CPP/CPA (ca. 1,0 millioner kroner)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Forbedre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ploy</a:t>
            </a: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sessen (ca. 2,0 millioner kroner)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Innføringsstøtte mot sektoren i forbindelse med at personlige brukere basert på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ID</a:t>
            </a: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autentisering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al erstatte fellesbrukere (ca. 2,0 millioner kroner)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Etablere reservedrift (ca. 4,0 millioner kroner) 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2949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DEBF3471-9438-44E1-A685-2408B977F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jernejournal 2021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5DEB511-F49A-4E0E-B95B-4E3331EED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DC9ECE9B-8FAC-4E0E-B782-5E39766902FA}"/>
              </a:ext>
            </a:extLst>
          </p:cNvPr>
          <p:cNvSpPr txBox="1"/>
          <p:nvPr/>
        </p:nvSpPr>
        <p:spPr>
          <a:xfrm>
            <a:off x="846567" y="3626346"/>
            <a:ext cx="1052222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bedringsbehov: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ca. 10 millioner kroner til reservedrift (høytilgjengelighet) av kjernejournal.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6EA60A18-90AF-4CF0-9865-F864068AC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235" y="1708569"/>
            <a:ext cx="10853530" cy="172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20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DEBF3471-9438-44E1-A685-2408B977F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-resept 2021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5DEB511-F49A-4E0E-B95B-4E3331EED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DC9ECE9B-8FAC-4E0E-B782-5E39766902FA}"/>
              </a:ext>
            </a:extLst>
          </p:cNvPr>
          <p:cNvSpPr txBox="1"/>
          <p:nvPr/>
        </p:nvSpPr>
        <p:spPr>
          <a:xfrm>
            <a:off x="846567" y="3626346"/>
            <a:ext cx="1052222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sert behov for forbedringer i 2021 er ca. 11 millioner kroner: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Oppgradering RF infrastruktur, 4,7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Forprosjekt – modernisering RF, 3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E-resept testportal for klinikere (for å unngå test i produksjon), 1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RF - Integrasjon mot MF Helse, 1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 Oppdatering av felles visningsfiler for e-reseptmeldinger, 1,3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C051F66-6255-40A1-8DA1-7AD128A9D1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861" y="1655437"/>
            <a:ext cx="10840278" cy="177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20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DEBF3471-9438-44E1-A685-2408B977F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HElsenorge</a:t>
            </a:r>
            <a:r>
              <a:rPr lang="nb-NO" dirty="0"/>
              <a:t> 2021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5DEB511-F49A-4E0E-B95B-4E3331EED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DC9ECE9B-8FAC-4E0E-B782-5E39766902FA}"/>
              </a:ext>
            </a:extLst>
          </p:cNvPr>
          <p:cNvSpPr txBox="1"/>
          <p:nvPr/>
        </p:nvSpPr>
        <p:spPr>
          <a:xfrm>
            <a:off x="846567" y="3626346"/>
            <a:ext cx="1052222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sert behov for forbedringer i 2021 er ca. 30 millioner kroner: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• API fra eksterne løsninger til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norge</a:t>
            </a: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holdsbank</a:t>
            </a: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6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• Forbedre overvåkning for å forhindre eller begrense datainnbrudd og sikre sporbarhet, 6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• Tilrettelegge åpen tilgang til statistikkdata – automatisere uttrekk og BI løsning, 3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• Reservedrift/Georedundans/Sky, 7 mi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• Arkitekturløft og brukerstyrte forbedringstiltak i primærhelsetjenesten, 5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• Utvide brukerfunksjoner i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norge</a:t>
            </a: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appene, 3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14324A0F-5AF0-4E12-88DB-EB6395235F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549" y="1657475"/>
            <a:ext cx="10734261" cy="1750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004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DEBF3471-9438-44E1-A685-2408B977F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Helseid</a:t>
            </a:r>
            <a:r>
              <a:rPr lang="nb-NO" dirty="0"/>
              <a:t> 2021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5DEB511-F49A-4E0E-B95B-4E3331EED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DC9ECE9B-8FAC-4E0E-B782-5E39766902FA}"/>
              </a:ext>
            </a:extLst>
          </p:cNvPr>
          <p:cNvSpPr txBox="1"/>
          <p:nvPr/>
        </p:nvSpPr>
        <p:spPr>
          <a:xfrm>
            <a:off x="952584" y="4141499"/>
            <a:ext cx="1052222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entifisert behov for forbedringer i 2021 er ca. 3,5 millioner kroner: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• reservedrift (høytilgjengelighet) av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ID</a:t>
            </a: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1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• selvbetjent testmiljø og verktøy for å kunne drive effektiv forvaltning, 2,5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B109213-A8DA-4616-8DA8-2825498560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077" y="1966702"/>
            <a:ext cx="11053206" cy="1499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19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DEBF3471-9438-44E1-A685-2408B977F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asjonale e-helseløsninger 2021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5DEB511-F49A-4E0E-B95B-4E3331EEDA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9" name="Diagram 8">
                <a:extLst>
                  <a:ext uri="{FF2B5EF4-FFF2-40B4-BE49-F238E27FC236}">
                    <a16:creationId xmlns:a16="http://schemas.microsoft.com/office/drawing/2014/main" id="{2F41CB54-BE2E-44B6-98D9-9872FD548C81}"/>
                  </a:ext>
                </a:extLst>
              </p:cNvPr>
              <p:cNvGraphicFramePr/>
              <p:nvPr/>
            </p:nvGraphicFramePr>
            <p:xfrm>
              <a:off x="978408" y="1755648"/>
              <a:ext cx="9555480" cy="4864608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9" name="Diagram 8">
                <a:extLst>
                  <a:ext uri="{FF2B5EF4-FFF2-40B4-BE49-F238E27FC236}">
                    <a16:creationId xmlns:a16="http://schemas.microsoft.com/office/drawing/2014/main" id="{2F41CB54-BE2E-44B6-98D9-9872FD548C8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78408" y="1755648"/>
                <a:ext cx="9555480" cy="4864608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39856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5FBABD9-DEBB-4215-958D-032B6471A7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297" y="1910581"/>
            <a:ext cx="10848029" cy="3883296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7162193-DBF1-4AFD-8ADA-B8A8D096A7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ELSENETTE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7190A6-BAB3-4065-9253-A90C28FC48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4035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8"/>
          <p:cNvSpPr/>
          <p:nvPr/>
        </p:nvSpPr>
        <p:spPr>
          <a:xfrm>
            <a:off x="1405320" y="2033905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Budsjett og prognose 2020 og budsjett 2021</a:t>
            </a:r>
          </a:p>
        </p:txBody>
      </p:sp>
      <p:sp>
        <p:nvSpPr>
          <p:cNvPr id="12" name="Rektangel 9"/>
          <p:cNvSpPr/>
          <p:nvPr/>
        </p:nvSpPr>
        <p:spPr>
          <a:xfrm>
            <a:off x="720487" y="1475711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1</a:t>
            </a:r>
          </a:p>
        </p:txBody>
      </p:sp>
      <p:sp>
        <p:nvSpPr>
          <p:cNvPr id="13" name="Rektangel 10"/>
          <p:cNvSpPr/>
          <p:nvPr/>
        </p:nvSpPr>
        <p:spPr>
          <a:xfrm>
            <a:off x="720487" y="2033904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14" name="Rektangel 11"/>
          <p:cNvSpPr/>
          <p:nvPr/>
        </p:nvSpPr>
        <p:spPr>
          <a:xfrm>
            <a:off x="1405320" y="147571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Godkjenning av innkalling og dagsorden</a:t>
            </a:r>
          </a:p>
        </p:txBody>
      </p:sp>
      <p:sp>
        <p:nvSpPr>
          <p:cNvPr id="10" name="Rektangel 9"/>
          <p:cNvSpPr/>
          <p:nvPr/>
        </p:nvSpPr>
        <p:spPr>
          <a:xfrm>
            <a:off x="720487" y="2592096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16" name="Rektangel 11"/>
          <p:cNvSpPr/>
          <p:nvPr/>
        </p:nvSpPr>
        <p:spPr>
          <a:xfrm>
            <a:off x="1405320" y="2592103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Fordelingsprinsipper</a:t>
            </a:r>
          </a:p>
        </p:txBody>
      </p:sp>
      <p:sp>
        <p:nvSpPr>
          <p:cNvPr id="18" name="Rektangel 9"/>
          <p:cNvSpPr/>
          <p:nvPr/>
        </p:nvSpPr>
        <p:spPr>
          <a:xfrm>
            <a:off x="720487" y="315028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20" name="Rektangel 11"/>
          <p:cNvSpPr/>
          <p:nvPr/>
        </p:nvSpPr>
        <p:spPr>
          <a:xfrm>
            <a:off x="1405320" y="3150296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 dirty="0">
                <a:solidFill>
                  <a:srgbClr val="281C2C"/>
                </a:solidFill>
              </a:rPr>
              <a:t>Veien videre og møtedato vår 2021</a:t>
            </a: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B6BF1538-ABED-44E5-98B9-A91841679744}"/>
              </a:ext>
            </a:extLst>
          </p:cNvPr>
          <p:cNvSpPr/>
          <p:nvPr/>
        </p:nvSpPr>
        <p:spPr>
          <a:xfrm>
            <a:off x="720487" y="368564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29" name="Rektangel 11">
            <a:extLst>
              <a:ext uri="{FF2B5EF4-FFF2-40B4-BE49-F238E27FC236}">
                <a16:creationId xmlns:a16="http://schemas.microsoft.com/office/drawing/2014/main" id="{ED46D673-65CF-444B-9D35-FE53ED2E72E9}"/>
              </a:ext>
            </a:extLst>
          </p:cNvPr>
          <p:cNvSpPr/>
          <p:nvPr/>
        </p:nvSpPr>
        <p:spPr>
          <a:xfrm>
            <a:off x="1405320" y="368565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>
                <a:solidFill>
                  <a:srgbClr val="281C2C"/>
                </a:solidFill>
              </a:rPr>
              <a:t>Eventuelt</a:t>
            </a:r>
            <a:endParaRPr lang="nb-NO" sz="1400" dirty="0">
              <a:solidFill>
                <a:srgbClr val="281C2C"/>
              </a:solidFill>
            </a:endParaRPr>
          </a:p>
        </p:txBody>
      </p:sp>
      <p:sp>
        <p:nvSpPr>
          <p:cNvPr id="24" name="Title 6">
            <a:extLst>
              <a:ext uri="{FF2B5EF4-FFF2-40B4-BE49-F238E27FC236}">
                <a16:creationId xmlns:a16="http://schemas.microsoft.com/office/drawing/2014/main" id="{9A96F8CF-FE07-4815-B667-B5F2E925F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50" y="214987"/>
            <a:ext cx="10783348" cy="836810"/>
          </a:xfrm>
        </p:spPr>
        <p:txBody>
          <a:bodyPr>
            <a:normAutofit/>
          </a:bodyPr>
          <a:lstStyle/>
          <a:p>
            <a:r>
              <a:rPr lang="en-US" dirty="0"/>
              <a:t>Agenda</a:t>
            </a:r>
          </a:p>
        </p:txBody>
      </p:sp>
      <p:pic>
        <p:nvPicPr>
          <p:cNvPr id="21" name="Plassholder for innhold 6">
            <a:extLst>
              <a:ext uri="{FF2B5EF4-FFF2-40B4-BE49-F238E27FC236}">
                <a16:creationId xmlns:a16="http://schemas.microsoft.com/office/drawing/2014/main" id="{ED9D26FF-986F-40A8-BD47-9A879CC651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31"/>
          <a:stretch/>
        </p:blipFill>
        <p:spPr>
          <a:xfrm>
            <a:off x="7627325" y="1475712"/>
            <a:ext cx="3255024" cy="372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9093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8"/>
          <p:cNvSpPr/>
          <p:nvPr/>
        </p:nvSpPr>
        <p:spPr>
          <a:xfrm>
            <a:off x="1405320" y="2028202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Budsjett og prognose 2020 og budsjett 2021</a:t>
            </a:r>
          </a:p>
        </p:txBody>
      </p:sp>
      <p:sp>
        <p:nvSpPr>
          <p:cNvPr id="12" name="Rektangel 9"/>
          <p:cNvSpPr/>
          <p:nvPr/>
        </p:nvSpPr>
        <p:spPr>
          <a:xfrm>
            <a:off x="720487" y="1475711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1</a:t>
            </a:r>
          </a:p>
        </p:txBody>
      </p:sp>
      <p:sp>
        <p:nvSpPr>
          <p:cNvPr id="13" name="Rektangel 10"/>
          <p:cNvSpPr/>
          <p:nvPr/>
        </p:nvSpPr>
        <p:spPr>
          <a:xfrm>
            <a:off x="720487" y="2028195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14" name="Rektangel 11"/>
          <p:cNvSpPr/>
          <p:nvPr/>
        </p:nvSpPr>
        <p:spPr>
          <a:xfrm>
            <a:off x="1405320" y="147571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Godkjenning av innkalling og dagsorden</a:t>
            </a:r>
          </a:p>
        </p:txBody>
      </p:sp>
      <p:sp>
        <p:nvSpPr>
          <p:cNvPr id="10" name="Rektangel 9"/>
          <p:cNvSpPr/>
          <p:nvPr/>
        </p:nvSpPr>
        <p:spPr>
          <a:xfrm>
            <a:off x="720487" y="258067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16" name="Rektangel 11"/>
          <p:cNvSpPr/>
          <p:nvPr/>
        </p:nvSpPr>
        <p:spPr>
          <a:xfrm>
            <a:off x="1405320" y="2580687"/>
            <a:ext cx="5600879" cy="45434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Fordelingsprinsipper</a:t>
            </a:r>
          </a:p>
        </p:txBody>
      </p:sp>
      <p:sp>
        <p:nvSpPr>
          <p:cNvPr id="18" name="Rektangel 9"/>
          <p:cNvSpPr/>
          <p:nvPr/>
        </p:nvSpPr>
        <p:spPr>
          <a:xfrm>
            <a:off x="720487" y="3133163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20" name="Rektangel 11"/>
          <p:cNvSpPr/>
          <p:nvPr/>
        </p:nvSpPr>
        <p:spPr>
          <a:xfrm>
            <a:off x="1405320" y="3133172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 dirty="0">
                <a:solidFill>
                  <a:srgbClr val="281C2C"/>
                </a:solidFill>
              </a:rPr>
              <a:t>Veien videre og møtedato vår 2021</a:t>
            </a: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B6BF1538-ABED-44E5-98B9-A91841679744}"/>
              </a:ext>
            </a:extLst>
          </p:cNvPr>
          <p:cNvSpPr/>
          <p:nvPr/>
        </p:nvSpPr>
        <p:spPr>
          <a:xfrm>
            <a:off x="720487" y="368564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29" name="Rektangel 11">
            <a:extLst>
              <a:ext uri="{FF2B5EF4-FFF2-40B4-BE49-F238E27FC236}">
                <a16:creationId xmlns:a16="http://schemas.microsoft.com/office/drawing/2014/main" id="{ED46D673-65CF-444B-9D35-FE53ED2E72E9}"/>
              </a:ext>
            </a:extLst>
          </p:cNvPr>
          <p:cNvSpPr/>
          <p:nvPr/>
        </p:nvSpPr>
        <p:spPr>
          <a:xfrm>
            <a:off x="1405320" y="368565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>
                <a:solidFill>
                  <a:srgbClr val="281C2C"/>
                </a:solidFill>
              </a:rPr>
              <a:t>Eventuelt</a:t>
            </a:r>
            <a:endParaRPr lang="nb-NO" sz="1400" dirty="0">
              <a:solidFill>
                <a:srgbClr val="281C2C"/>
              </a:solidFill>
            </a:endParaRPr>
          </a:p>
        </p:txBody>
      </p:sp>
      <p:sp>
        <p:nvSpPr>
          <p:cNvPr id="24" name="Title 6">
            <a:extLst>
              <a:ext uri="{FF2B5EF4-FFF2-40B4-BE49-F238E27FC236}">
                <a16:creationId xmlns:a16="http://schemas.microsoft.com/office/drawing/2014/main" id="{9A96F8CF-FE07-4815-B667-B5F2E925F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50" y="214987"/>
            <a:ext cx="10783348" cy="836810"/>
          </a:xfrm>
        </p:spPr>
        <p:txBody>
          <a:bodyPr>
            <a:normAutofit/>
          </a:bodyPr>
          <a:lstStyle/>
          <a:p>
            <a:r>
              <a:rPr lang="en-US" dirty="0"/>
              <a:t>Agenda</a:t>
            </a:r>
          </a:p>
        </p:txBody>
      </p:sp>
      <p:pic>
        <p:nvPicPr>
          <p:cNvPr id="21" name="Plassholder for innhold 6">
            <a:extLst>
              <a:ext uri="{FF2B5EF4-FFF2-40B4-BE49-F238E27FC236}">
                <a16:creationId xmlns:a16="http://schemas.microsoft.com/office/drawing/2014/main" id="{ED9D26FF-986F-40A8-BD47-9A879CC651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31"/>
          <a:stretch/>
        </p:blipFill>
        <p:spPr>
          <a:xfrm>
            <a:off x="7627325" y="1475712"/>
            <a:ext cx="3255024" cy="372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0549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9F92309-E28F-4D5B-BB38-D19BE4E3E3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ra mandate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F36E137-B3DA-46B9-8C7B-002DED5C33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i="1" dirty="0"/>
              <a:t>«Utvalgets vurderinger vil inngå som en sentral del av beslutningsgrunnlaget når betalingens størrelse skal fastsettes. Det gjelder både nivå på kostnadene og </a:t>
            </a:r>
            <a:r>
              <a:rPr lang="nb-NO" b="1" i="1" dirty="0"/>
              <a:t>fordelingen mellom aktørene.»</a:t>
            </a:r>
          </a:p>
          <a:p>
            <a:pPr marL="0" indent="0">
              <a:buNone/>
            </a:pPr>
            <a:endParaRPr lang="nb-NO" b="1" i="1" dirty="0"/>
          </a:p>
          <a:p>
            <a:pPr marL="0" indent="0">
              <a:buNone/>
            </a:pPr>
            <a:r>
              <a:rPr lang="nb-NO" b="1" i="1" dirty="0"/>
              <a:t>«…Videre skal utvalget gjøre en vurdering av kostnadsfordelingen mellom aktørene </a:t>
            </a:r>
            <a:r>
              <a:rPr lang="nb-NO" i="1" dirty="0"/>
              <a:t>som grunnlag for departementets arbeid med forskriftsbestemmelser om virksomhetenes plikt til å betale for, og gjøre de nasjonale løsningene tilgjengelige for bruk, jf. høringsnotat om ny e-helselov.» </a:t>
            </a:r>
            <a:endParaRPr lang="nb-NO" b="1" i="1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1A4BAA63-DD83-423A-8F55-DE34449F1E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2183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831629FA-1CC8-4B1D-B4F5-AC5A240BE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remgangsmåte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93CF7E4-88F0-4AD9-BD71-A3DCC961DFA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175"/>
            <a:r>
              <a:rPr lang="nb-NO">
                <a:latin typeface="Arial" panose="020B0604020202020204"/>
              </a:rPr>
              <a:t> Side </a:t>
            </a:r>
            <a:fld id="{5751DFAA-887F-4071-8EAD-E8CA316FCF06}" type="slidenum">
              <a:rPr lang="nb-NO">
                <a:latin typeface="Arial" panose="020B0604020202020204"/>
              </a:rPr>
              <a:pPr defTabSz="914175"/>
              <a:t>22</a:t>
            </a:fld>
            <a:endParaRPr lang="nb-NO" dirty="0">
              <a:latin typeface="Arial" panose="020B0604020202020204"/>
            </a:endParaRP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E2D17B44-D6DD-4776-8469-F0EA96F1762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>
            <a:normAutofit/>
          </a:bodyPr>
          <a:lstStyle/>
          <a:p>
            <a:r>
              <a:rPr lang="nb-NO" dirty="0"/>
              <a:t>Arbeidet er utført i henhold til Utredningsinstruksens seks spørsmål </a:t>
            </a:r>
            <a:r>
              <a:rPr lang="nb-NO" dirty="0">
                <a:sym typeface="Wingdings" panose="05000000000000000000" pitchFamily="2" charset="2"/>
              </a:rPr>
              <a:t> med relevante forenklinger og tilpasninger</a:t>
            </a:r>
          </a:p>
          <a:p>
            <a:endParaRPr lang="nb-NO" dirty="0">
              <a:sym typeface="Wingdings" panose="05000000000000000000" pitchFamily="2" charset="2"/>
            </a:endParaRPr>
          </a:p>
          <a:p>
            <a:r>
              <a:rPr lang="nb-NO" dirty="0">
                <a:sym typeface="Wingdings" panose="05000000000000000000" pitchFamily="2" charset="2"/>
              </a:rPr>
              <a:t>Direktoratet har en anbefaling klar fra utredningen, men det er opp til TBU å diskutere prinsippene og komme med en anbefaling til HOD</a:t>
            </a:r>
          </a:p>
          <a:p>
            <a:pPr marL="0" indent="0">
              <a:buNone/>
            </a:pPr>
            <a:endParaRPr lang="nb-NO" dirty="0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6B58C4F8-CCD6-44E1-9C15-51AE59904EF7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371475" indent="-371475">
              <a:buFont typeface="+mj-lt"/>
              <a:buAutoNum type="arabicPeriod"/>
            </a:pPr>
            <a:r>
              <a:rPr lang="nb-NO" dirty="0"/>
              <a:t>Hva er problemet, og hva vil vi oppnå?</a:t>
            </a:r>
          </a:p>
          <a:p>
            <a:pPr marL="371475" indent="-371475">
              <a:buFont typeface="+mj-lt"/>
              <a:buAutoNum type="arabicPeriod"/>
            </a:pPr>
            <a:r>
              <a:rPr lang="nb-NO" dirty="0"/>
              <a:t>Hvilke tiltak er relevante?</a:t>
            </a:r>
          </a:p>
          <a:p>
            <a:pPr marL="371475" indent="-371475">
              <a:buFont typeface="+mj-lt"/>
              <a:buAutoNum type="arabicPeriod"/>
            </a:pPr>
            <a:r>
              <a:rPr lang="nb-NO" dirty="0"/>
              <a:t>Hvilke prinsipielle spørsmål reiser tiltakene?</a:t>
            </a:r>
          </a:p>
          <a:p>
            <a:pPr marL="371475" indent="-371475">
              <a:buFont typeface="+mj-lt"/>
              <a:buAutoNum type="arabicPeriod"/>
            </a:pPr>
            <a:r>
              <a:rPr lang="nb-NO" dirty="0"/>
              <a:t>Hva er de positive og negative virkningene av tiltakene, hvor varige er de, og hvem blir berørt?</a:t>
            </a:r>
          </a:p>
          <a:p>
            <a:pPr marL="371475" indent="-371475">
              <a:buFont typeface="+mj-lt"/>
              <a:buAutoNum type="arabicPeriod"/>
            </a:pPr>
            <a:r>
              <a:rPr lang="nb-NO" dirty="0"/>
              <a:t>Hvilket tiltak anbefales, og hvorfor?</a:t>
            </a:r>
          </a:p>
          <a:p>
            <a:pPr marL="371475" indent="-371475">
              <a:buFont typeface="+mj-lt"/>
              <a:buAutoNum type="arabicPeriod"/>
            </a:pPr>
            <a:r>
              <a:rPr lang="nb-NO" dirty="0"/>
              <a:t>Hva er forutsetningene for en vellykket gjennomføring?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15048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85BD0BF-2F24-4F73-8F2C-438F5CE26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agens fordeling: 56/44 mellom RHF/kommuner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FBAD6B9-0787-4422-82B6-5A00D0688E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23</a:t>
            </a:fld>
            <a:endParaRPr lang="nb-NO" dirty="0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E77BA6F9-8E37-4221-81DF-E5B2FF2AA5E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b-NO" dirty="0"/>
              <a:t>Fordelingen er basert på en skjønnsmessig vurdering utført av Helse- og omsorgsdepartement med utgangspunkt i dagens situasjon, dagens bruk og potensialet for bruk av løsningene.</a:t>
            </a:r>
          </a:p>
          <a:p>
            <a:r>
              <a:rPr lang="nb-NO" dirty="0"/>
              <a:t>De regionale helseforetakene belastes for 80 % av kostnadene til Helsenorge, mens kostnadene for de øvrige løsningene er fordelt likt mellom kommuner og regionale helseforetak.</a:t>
            </a:r>
          </a:p>
        </p:txBody>
      </p:sp>
      <p:graphicFrame>
        <p:nvGraphicFramePr>
          <p:cNvPr id="8" name="Plassholder for innhold 7">
            <a:extLst>
              <a:ext uri="{FF2B5EF4-FFF2-40B4-BE49-F238E27FC236}">
                <a16:creationId xmlns:a16="http://schemas.microsoft.com/office/drawing/2014/main" id="{B7CFA008-76FF-4AB6-92A6-832825341885}"/>
              </a:ext>
            </a:extLst>
          </p:cNvPr>
          <p:cNvGraphicFramePr>
            <a:graphicFrameLocks noGrp="1"/>
          </p:cNvGraphicFramePr>
          <p:nvPr>
            <p:ph sz="quarter" idx="18"/>
          </p:nvPr>
        </p:nvGraphicFramePr>
        <p:xfrm>
          <a:off x="6616541" y="1818000"/>
          <a:ext cx="4500880" cy="2844712"/>
        </p:xfrm>
        <a:graphic>
          <a:graphicData uri="http://schemas.openxmlformats.org/drawingml/2006/table">
            <a:tbl>
              <a:tblPr firstRow="1" firstCol="1" bandRow="1"/>
              <a:tblGrid>
                <a:gridCol w="1745034">
                  <a:extLst>
                    <a:ext uri="{9D8B030D-6E8A-4147-A177-3AD203B41FA5}">
                      <a16:colId xmlns:a16="http://schemas.microsoft.com/office/drawing/2014/main" val="2171851969"/>
                    </a:ext>
                  </a:extLst>
                </a:gridCol>
                <a:gridCol w="1377923">
                  <a:extLst>
                    <a:ext uri="{9D8B030D-6E8A-4147-A177-3AD203B41FA5}">
                      <a16:colId xmlns:a16="http://schemas.microsoft.com/office/drawing/2014/main" val="2370105287"/>
                    </a:ext>
                  </a:extLst>
                </a:gridCol>
                <a:gridCol w="1377923">
                  <a:extLst>
                    <a:ext uri="{9D8B030D-6E8A-4147-A177-3AD203B41FA5}">
                      <a16:colId xmlns:a16="http://schemas.microsoft.com/office/drawing/2014/main" val="3870609298"/>
                    </a:ext>
                  </a:extLst>
                </a:gridCol>
              </a:tblGrid>
              <a:tr h="355589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øsning</a:t>
                      </a:r>
                      <a:endParaRPr lang="nb-NO" sz="18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FC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7A94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1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HF</a:t>
                      </a:r>
                      <a:endParaRPr lang="nb-NO" sz="1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FC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7A94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ommuner </a:t>
                      </a:r>
                      <a:endParaRPr lang="nb-NO" sz="1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FC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9512515"/>
                  </a:ext>
                </a:extLst>
              </a:tr>
              <a:tr h="355589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 err="1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elseID</a:t>
                      </a:r>
                      <a:endParaRPr lang="nb-NO" sz="1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5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5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3973330"/>
                  </a:ext>
                </a:extLst>
              </a:tr>
              <a:tr h="355589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Grunndata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5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5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0938078"/>
                  </a:ext>
                </a:extLst>
              </a:tr>
              <a:tr h="355589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jernejournal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5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5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9372297"/>
                  </a:ext>
                </a:extLst>
              </a:tr>
              <a:tr h="355589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-resept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5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5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4623088"/>
                  </a:ext>
                </a:extLst>
              </a:tr>
              <a:tr h="355589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elsenorge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8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9309055"/>
                  </a:ext>
                </a:extLst>
              </a:tr>
              <a:tr h="355589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um 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8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20 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0326032"/>
                  </a:ext>
                </a:extLst>
              </a:tr>
              <a:tr h="355589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>
                          <a:solidFill>
                            <a:srgbClr val="F0F0F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% fordeling</a:t>
                      </a:r>
                      <a:endParaRPr lang="nb-NO" sz="180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FC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7A94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1" dirty="0">
                          <a:solidFill>
                            <a:srgbClr val="F0F0F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56 %</a:t>
                      </a:r>
                      <a:endParaRPr lang="nb-NO" sz="1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FC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7A94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nb-NO" sz="1800" b="1" dirty="0">
                          <a:solidFill>
                            <a:srgbClr val="F0F0F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44 %</a:t>
                      </a:r>
                      <a:endParaRPr lang="nb-NO" sz="180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4C4D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FC1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7A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38806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2408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63AF6515-0512-4B5E-B2A6-9FB12301414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578770" y="2161276"/>
            <a:ext cx="11034460" cy="4345176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58AAE295-3E3F-4548-AF0A-7A3F7ABD4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Mulighetsrommet knyttet til bruk av løsningen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F54BD35-9D63-4EB7-A519-C21A8E5161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175"/>
            <a:r>
              <a:rPr lang="nb-NO">
                <a:latin typeface="Arial" panose="020B0604020202020204"/>
              </a:rPr>
              <a:t> Side </a:t>
            </a:r>
            <a:fld id="{5751DFAA-887F-4071-8EAD-E8CA316FCF06}" type="slidenum">
              <a:rPr lang="nb-NO">
                <a:latin typeface="Arial" panose="020B0604020202020204"/>
              </a:rPr>
              <a:pPr defTabSz="914175"/>
              <a:t>24</a:t>
            </a:fld>
            <a:endParaRPr lang="nb-NO" dirty="0">
              <a:latin typeface="Arial" panose="020B0604020202020204"/>
            </a:endParaRP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68D158A-DAED-4800-8251-5B369AF4637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20136" y="1818001"/>
            <a:ext cx="10784050" cy="1142015"/>
          </a:xfrm>
        </p:spPr>
        <p:txBody>
          <a:bodyPr numCol="2">
            <a:normAutofit/>
          </a:bodyPr>
          <a:lstStyle/>
          <a:p>
            <a:pPr marL="0" indent="0">
              <a:buNone/>
            </a:pPr>
            <a:r>
              <a:rPr lang="nb-NO" b="1" dirty="0"/>
              <a:t>A: </a:t>
            </a:r>
            <a:r>
              <a:rPr lang="nb-NO" dirty="0"/>
              <a:t>Uavhengig av bruk</a:t>
            </a:r>
          </a:p>
          <a:p>
            <a:pPr marL="0" indent="0">
              <a:buNone/>
            </a:pPr>
            <a:r>
              <a:rPr lang="nb-NO" b="1" dirty="0"/>
              <a:t>B: </a:t>
            </a:r>
            <a:r>
              <a:rPr lang="nb-NO" dirty="0"/>
              <a:t>Teknisk klart til å ta i bruk fra NHN</a:t>
            </a:r>
          </a:p>
          <a:p>
            <a:pPr marL="0" indent="0">
              <a:buNone/>
            </a:pPr>
            <a:r>
              <a:rPr lang="nb-NO" b="1" dirty="0"/>
              <a:t>C: </a:t>
            </a:r>
            <a:r>
              <a:rPr lang="nb-NO" dirty="0"/>
              <a:t>Organisatorisk klart til å ta i bruk</a:t>
            </a:r>
          </a:p>
          <a:p>
            <a:pPr marL="0" indent="0">
              <a:buNone/>
            </a:pPr>
            <a:r>
              <a:rPr lang="nb-NO" b="1" dirty="0"/>
              <a:t>D:</a:t>
            </a:r>
            <a:r>
              <a:rPr lang="nb-NO" dirty="0"/>
              <a:t> Faktisk innført, uavhengig av bruk</a:t>
            </a:r>
          </a:p>
          <a:p>
            <a:pPr marL="0" indent="0">
              <a:buNone/>
            </a:pPr>
            <a:r>
              <a:rPr lang="nb-NO" b="1" dirty="0"/>
              <a:t>E: </a:t>
            </a:r>
            <a:r>
              <a:rPr lang="nb-NO" dirty="0"/>
              <a:t>Forbruksbasert</a:t>
            </a:r>
          </a:p>
          <a:p>
            <a:pPr marL="0" indent="0">
              <a:buNone/>
            </a:pPr>
            <a:r>
              <a:rPr lang="nb-NO" b="1" dirty="0"/>
              <a:t>F: </a:t>
            </a:r>
            <a:r>
              <a:rPr lang="nb-NO" dirty="0"/>
              <a:t>Fordeling etter nytte</a:t>
            </a:r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E3720101-2F9F-43BD-9222-39637251611E}"/>
              </a:ext>
            </a:extLst>
          </p:cNvPr>
          <p:cNvCxnSpPr/>
          <p:nvPr/>
        </p:nvCxnSpPr>
        <p:spPr>
          <a:xfrm>
            <a:off x="720136" y="3016577"/>
            <a:ext cx="1078405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8560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620CC71-54D7-4F7A-B755-D5E8E617F7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ndre aktuelle fordelingsnøkler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2959E8F-0BEE-4ADB-806A-009FE6974F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Fordeling etter andre objektive kriterier som budsjettstørrelser og pasientgrunnlag</a:t>
            </a:r>
          </a:p>
          <a:p>
            <a:pPr lvl="1"/>
            <a:r>
              <a:rPr lang="nb-NO" dirty="0"/>
              <a:t>Vil i praksis gi en 50/50-fordeling, det samme som uavhengig av bruk-prinsippet gjør</a:t>
            </a:r>
          </a:p>
          <a:p>
            <a:pPr lvl="1"/>
            <a:endParaRPr lang="nb-NO" dirty="0"/>
          </a:p>
          <a:p>
            <a:pPr marL="215989" lvl="1" indent="0">
              <a:buNone/>
            </a:pPr>
            <a:endParaRPr lang="nb-NO" dirty="0"/>
          </a:p>
          <a:p>
            <a:pPr lvl="1"/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FEDA654-8F5A-49A2-9037-0379ED41F1D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175"/>
            <a:r>
              <a:rPr lang="nb-NO">
                <a:latin typeface="Arial" panose="020B0604020202020204"/>
              </a:rPr>
              <a:t> Side </a:t>
            </a:r>
            <a:fld id="{5751DFAA-887F-4071-8EAD-E8CA316FCF06}" type="slidenum">
              <a:rPr lang="nb-NO">
                <a:latin typeface="Arial" panose="020B0604020202020204"/>
              </a:rPr>
              <a:pPr defTabSz="914175"/>
              <a:t>25</a:t>
            </a:fld>
            <a:endParaRPr lang="nb-NO" dirty="0">
              <a:latin typeface="Arial" panose="020B0604020202020204"/>
            </a:endParaRPr>
          </a:p>
        </p:txBody>
      </p:sp>
      <p:sp>
        <p:nvSpPr>
          <p:cNvPr id="5" name="Tekstboks 2">
            <a:extLst>
              <a:ext uri="{FF2B5EF4-FFF2-40B4-BE49-F238E27FC236}">
                <a16:creationId xmlns:a16="http://schemas.microsoft.com/office/drawing/2014/main" id="{C7B84332-47E5-47D7-8FD9-5E6265329F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96825" y="2921654"/>
            <a:ext cx="8830672" cy="1967205"/>
          </a:xfrm>
          <a:prstGeom prst="rect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nb-NO" sz="1600" b="1" i="1" dirty="0">
                <a:solidFill>
                  <a:srgbClr val="037A94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tall årsverk (45/55) </a:t>
            </a:r>
            <a:endParaRPr lang="nb-NO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nb-NO" sz="1600" i="1" dirty="0">
                <a:solidFill>
                  <a:srgbClr val="037A94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pesialisthelsetjenesten: 115 209 (45%)</a:t>
            </a:r>
            <a:endParaRPr lang="nb-NO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nb-NO" sz="1600" i="1" dirty="0">
                <a:solidFill>
                  <a:srgbClr val="037A94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ommunal helse- og omsorgtjeneste inkludert fastlegene: 140 698 (55%)</a:t>
            </a:r>
            <a:endParaRPr lang="nb-NO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nb-NO" sz="1600" b="1" i="1" dirty="0">
                <a:solidFill>
                  <a:srgbClr val="037A94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nb-NO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nb-NO" sz="1600" b="1" i="1" dirty="0">
                <a:solidFill>
                  <a:srgbClr val="037A94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ostnadstall (51/49)</a:t>
            </a:r>
            <a:endParaRPr lang="nb-NO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nb-NO" sz="1600" i="1" dirty="0">
                <a:solidFill>
                  <a:srgbClr val="037A94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pesialisthelsetjenesten: 128 mrd. kroner (51 %)</a:t>
            </a:r>
            <a:endParaRPr lang="nb-NO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Aft>
                <a:spcPts val="0"/>
              </a:spcAft>
            </a:pPr>
            <a:r>
              <a:rPr lang="nb-NO" sz="1600" i="1" dirty="0">
                <a:solidFill>
                  <a:srgbClr val="037A94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ommunal helse- og omsorgtjeneste inkludert fastlegene: 123 mrd.kr (49%)</a:t>
            </a:r>
            <a:endParaRPr lang="nb-NO" sz="20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5202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0E214AD-9D63-473F-A53D-4D44E000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urderingskriterier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E43F22B-37D4-444E-AA7C-4B41E691DF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26</a:t>
            </a:fld>
            <a:endParaRPr lang="nb-NO" dirty="0"/>
          </a:p>
        </p:txBody>
      </p:sp>
      <p:graphicFrame>
        <p:nvGraphicFramePr>
          <p:cNvPr id="7" name="Plassholder for innhold 6">
            <a:extLst>
              <a:ext uri="{FF2B5EF4-FFF2-40B4-BE49-F238E27FC236}">
                <a16:creationId xmlns:a16="http://schemas.microsoft.com/office/drawing/2014/main" id="{FAAD6C25-7784-4871-9E4B-FDB87822C65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187606" y="1895863"/>
          <a:ext cx="9816788" cy="3537620"/>
        </p:xfrm>
        <a:graphic>
          <a:graphicData uri="http://schemas.openxmlformats.org/drawingml/2006/table">
            <a:tbl>
              <a:tblPr firstRow="1" firstCol="1" bandRow="1"/>
              <a:tblGrid>
                <a:gridCol w="1404594">
                  <a:extLst>
                    <a:ext uri="{9D8B030D-6E8A-4147-A177-3AD203B41FA5}">
                      <a16:colId xmlns:a16="http://schemas.microsoft.com/office/drawing/2014/main" val="4040552649"/>
                    </a:ext>
                  </a:extLst>
                </a:gridCol>
                <a:gridCol w="8412194">
                  <a:extLst>
                    <a:ext uri="{9D8B030D-6E8A-4147-A177-3AD203B41FA5}">
                      <a16:colId xmlns:a16="http://schemas.microsoft.com/office/drawing/2014/main" val="2500775835"/>
                    </a:ext>
                  </a:extLst>
                </a:gridCol>
              </a:tblGrid>
              <a:tr h="339364">
                <a:tc>
                  <a:txBody>
                    <a:bodyPr/>
                    <a:lstStyle/>
                    <a:p>
                      <a:pPr marL="0" marR="0" lvl="0" indent="0" algn="l" defTabSz="9143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 hvilken grad gir kostnadsfordelingen insentiver til: </a:t>
                      </a:r>
                      <a:endParaRPr lang="nb-NO" sz="1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3083122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. Fremme innføring av nasjonale e-helseløsninger til nye grupper og gevinstrealisering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5883581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. Forutsigbarhet i inntekter og kostnader for involverte aktører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2427360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. Rettferdig fordeling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6742082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4. Enkel å administrere  (kostnadseffektiv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3828833"/>
                  </a:ext>
                </a:extLst>
              </a:tr>
            </a:tbl>
          </a:graphicData>
        </a:graphic>
      </p:graphicFrame>
      <p:pic>
        <p:nvPicPr>
          <p:cNvPr id="9" name="Grafikk 8" descr="Justitias vekt">
            <a:extLst>
              <a:ext uri="{FF2B5EF4-FFF2-40B4-BE49-F238E27FC236}">
                <a16:creationId xmlns:a16="http://schemas.microsoft.com/office/drawing/2014/main" id="{286C5807-00A7-41DC-BF00-F3F19D0936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50242" y="3844552"/>
            <a:ext cx="714228" cy="714228"/>
          </a:xfrm>
          <a:prstGeom prst="rect">
            <a:avLst/>
          </a:prstGeom>
        </p:spPr>
      </p:pic>
      <p:pic>
        <p:nvPicPr>
          <p:cNvPr id="13" name="Grafikk 12" descr="Stolpediagram – oppadgående trend">
            <a:extLst>
              <a:ext uri="{FF2B5EF4-FFF2-40B4-BE49-F238E27FC236}">
                <a16:creationId xmlns:a16="http://schemas.microsoft.com/office/drawing/2014/main" id="{7485A172-82A2-4FE2-902C-DA907B0B68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50242" y="3074024"/>
            <a:ext cx="714228" cy="714228"/>
          </a:xfrm>
          <a:prstGeom prst="rect">
            <a:avLst/>
          </a:prstGeom>
        </p:spPr>
      </p:pic>
      <p:pic>
        <p:nvPicPr>
          <p:cNvPr id="17" name="Grafikk 16" descr="Tilkoblinger">
            <a:extLst>
              <a:ext uri="{FF2B5EF4-FFF2-40B4-BE49-F238E27FC236}">
                <a16:creationId xmlns:a16="http://schemas.microsoft.com/office/drawing/2014/main" id="{5504DFAA-9618-49BB-9608-19FBC8648A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0242" y="2303496"/>
            <a:ext cx="714228" cy="714228"/>
          </a:xfrm>
          <a:prstGeom prst="rect">
            <a:avLst/>
          </a:prstGeom>
        </p:spPr>
      </p:pic>
      <p:pic>
        <p:nvPicPr>
          <p:cNvPr id="19" name="Grafikk 18" descr="Presentasjon med medier">
            <a:extLst>
              <a:ext uri="{FF2B5EF4-FFF2-40B4-BE49-F238E27FC236}">
                <a16:creationId xmlns:a16="http://schemas.microsoft.com/office/drawing/2014/main" id="{35E5DFBA-DD43-42A5-A3F9-72FDA9F25D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50242" y="4615081"/>
            <a:ext cx="714228" cy="714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0524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BD067DA-26F7-4127-BF8B-21DE235501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ra TBUs vurderinger i vår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06AB101F-DAD3-4E80-B231-3E9126E198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16000" lvl="1" indent="0">
              <a:buNone/>
            </a:pPr>
            <a:endParaRPr lang="nb-NO" dirty="0"/>
          </a:p>
          <a:p>
            <a:r>
              <a:rPr lang="nb-NO" dirty="0"/>
              <a:t>Betalingsforpliktelse bør inntreffe fra det </a:t>
            </a:r>
            <a:r>
              <a:rPr lang="nb-NO" i="1" u="sng" dirty="0"/>
              <a:t>tidspunktet løsningen kunne vært tatt i bruk </a:t>
            </a:r>
            <a:r>
              <a:rPr lang="nb-NO" dirty="0"/>
              <a:t>av aktøren, og ikke fra det tidspunktet aktøren selv velger å ta løsningen i bruk. 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nb-NO" dirty="0"/>
              <a:t>Fordelen med dette er at det stimulerer til raskere innføring av nasjonale e-helseløsninger</a:t>
            </a:r>
          </a:p>
          <a:p>
            <a:pPr lvl="2">
              <a:buFont typeface="Wingdings" panose="05000000000000000000" pitchFamily="2" charset="2"/>
              <a:buChar char="Ø"/>
            </a:pPr>
            <a:endParaRPr lang="nb-NO" dirty="0"/>
          </a:p>
          <a:p>
            <a:pPr lvl="2">
              <a:buFont typeface="Wingdings" panose="05000000000000000000" pitchFamily="2" charset="2"/>
              <a:buChar char="Ø"/>
            </a:pPr>
            <a:endParaRPr lang="nb-NO" dirty="0"/>
          </a:p>
          <a:p>
            <a:r>
              <a:rPr lang="nb-NO" sz="2000" dirty="0"/>
              <a:t>KS og kommunene tok til orde for at betalingsforpliktelse burde knyttes til det tidspunktet løsningen faktisk er tatt i bruk 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nb-NO" sz="2000" dirty="0"/>
              <a:t>Urimelig å betale for noe man ikke bruker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nb-NO" sz="2000" dirty="0"/>
              <a:t>Lav nytteverdi av nasjonale e-helseløsninger </a:t>
            </a:r>
          </a:p>
          <a:p>
            <a:pPr lvl="2">
              <a:buFont typeface="Wingdings" panose="05000000000000000000" pitchFamily="2" charset="2"/>
              <a:buChar char="Ø"/>
            </a:pPr>
            <a:endParaRPr lang="nb-NO" sz="2000" dirty="0"/>
          </a:p>
          <a:p>
            <a:pPr marL="432000" lvl="2" indent="0">
              <a:buNone/>
            </a:pPr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93553AEF-4BC7-4457-9A33-35EB53C299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175"/>
            <a:r>
              <a:rPr lang="nb-NO">
                <a:latin typeface="Arial" panose="020B0604020202020204"/>
              </a:rPr>
              <a:t> Side </a:t>
            </a:r>
            <a:fld id="{5751DFAA-887F-4071-8EAD-E8CA316FCF06}" type="slidenum">
              <a:rPr lang="nb-NO">
                <a:latin typeface="Arial" panose="020B0604020202020204"/>
              </a:rPr>
              <a:pPr defTabSz="914175"/>
              <a:t>27</a:t>
            </a:fld>
            <a:endParaRPr lang="nb-NO" dirty="0"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9980607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F737A3A-AD87-494B-94F2-5122D293A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irektoratets/arbeidsgruppens anbefaling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32B3AD8-4348-4BB4-AC2D-C755E2D6B4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28</a:t>
            </a:fld>
            <a:endParaRPr lang="nb-NO" dirty="0"/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3473B0D4-3FF0-4A4A-A7FA-9297009C9558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19756" y="1751051"/>
            <a:ext cx="8552488" cy="3355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255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0E214AD-9D63-473F-A53D-4D44E000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angert som nr. 1: Fordeling B, Teknisk klart fra NHN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E43F22B-37D4-444E-AA7C-4B41E691DF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29</a:t>
            </a:fld>
            <a:endParaRPr lang="nb-NO" dirty="0"/>
          </a:p>
        </p:txBody>
      </p:sp>
      <p:graphicFrame>
        <p:nvGraphicFramePr>
          <p:cNvPr id="7" name="Plassholder for innhold 6">
            <a:extLst>
              <a:ext uri="{FF2B5EF4-FFF2-40B4-BE49-F238E27FC236}">
                <a16:creationId xmlns:a16="http://schemas.microsoft.com/office/drawing/2014/main" id="{FAAD6C25-7784-4871-9E4B-FDB87822C65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187606" y="1895863"/>
          <a:ext cx="9816788" cy="3537620"/>
        </p:xfrm>
        <a:graphic>
          <a:graphicData uri="http://schemas.openxmlformats.org/drawingml/2006/table">
            <a:tbl>
              <a:tblPr firstRow="1" firstCol="1" bandRow="1"/>
              <a:tblGrid>
                <a:gridCol w="1404594">
                  <a:extLst>
                    <a:ext uri="{9D8B030D-6E8A-4147-A177-3AD203B41FA5}">
                      <a16:colId xmlns:a16="http://schemas.microsoft.com/office/drawing/2014/main" val="4040552649"/>
                    </a:ext>
                  </a:extLst>
                </a:gridCol>
                <a:gridCol w="8412194">
                  <a:extLst>
                    <a:ext uri="{9D8B030D-6E8A-4147-A177-3AD203B41FA5}">
                      <a16:colId xmlns:a16="http://schemas.microsoft.com/office/drawing/2014/main" val="2500775835"/>
                    </a:ext>
                  </a:extLst>
                </a:gridCol>
              </a:tblGrid>
              <a:tr h="339364">
                <a:tc>
                  <a:txBody>
                    <a:bodyPr/>
                    <a:lstStyle/>
                    <a:p>
                      <a:pPr marL="0" marR="0" lvl="0" indent="0" algn="l" defTabSz="9143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 hvilken grad gir kostnadsfordelingen insentiver til: </a:t>
                      </a:r>
                      <a:endParaRPr lang="nb-NO" sz="1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3083122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. Fremme innføring og gevinstrealisering: </a:t>
                      </a:r>
                      <a:r>
                        <a:rPr lang="nb-NO" sz="1600" b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et antas at fordelingen </a:t>
                      </a:r>
                      <a:r>
                        <a:rPr lang="nb-NO" sz="1600"/>
                        <a:t>vil stimulere til å innføre løsningene da virksomhetene må betale uavhengig av om man har innført løsningene eller ikke. Antas å være bedre å bruke noe man betaler for enn bare å betale.</a:t>
                      </a:r>
                      <a:endParaRPr lang="nb-NO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5883581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. Forutsigbarhet i inntekter og kostnader for involverte aktører: </a:t>
                      </a:r>
                      <a:r>
                        <a:rPr lang="nb-NO" sz="1600" b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eget forutsigbart da fordelingen er og blir 50/50 fra dag 1 og videre.</a:t>
                      </a:r>
                      <a:endParaRPr lang="nb-NO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2427360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. Rettferdig fordeling: </a:t>
                      </a:r>
                      <a:r>
                        <a:rPr lang="nb-NO" sz="1600" b="0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Fordelingen gjør at man ikke betaler for løsninger man ikke har muligheten til å ta i bruk, men </a:t>
                      </a:r>
                      <a:r>
                        <a:rPr lang="nb-NO" sz="1600" b="0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pplæring, innføring og andre tilpasninger som virksomheten må gjøre for at virksomheten kan gjøre løsningen klar for sine sluttbrukere, hensyntas ikke.</a:t>
                      </a:r>
                      <a:endParaRPr lang="nb-NO" sz="1600" b="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6742082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4. Enkel å administrere  (kostnadseffektiv): </a:t>
                      </a:r>
                      <a:r>
                        <a:rPr lang="nb-NO" sz="16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eget enkelt å administrere en 50/50-fordeling. </a:t>
                      </a:r>
                      <a:endParaRPr lang="nb-NO" sz="16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3828833"/>
                  </a:ext>
                </a:extLst>
              </a:tr>
            </a:tbl>
          </a:graphicData>
        </a:graphic>
      </p:graphicFrame>
      <p:pic>
        <p:nvPicPr>
          <p:cNvPr id="9" name="Grafikk 8" descr="Justitias vekt">
            <a:extLst>
              <a:ext uri="{FF2B5EF4-FFF2-40B4-BE49-F238E27FC236}">
                <a16:creationId xmlns:a16="http://schemas.microsoft.com/office/drawing/2014/main" id="{286C5807-00A7-41DC-BF00-F3F19D0936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50242" y="3844552"/>
            <a:ext cx="714228" cy="714228"/>
          </a:xfrm>
          <a:prstGeom prst="rect">
            <a:avLst/>
          </a:prstGeom>
        </p:spPr>
      </p:pic>
      <p:pic>
        <p:nvPicPr>
          <p:cNvPr id="13" name="Grafikk 12" descr="Stolpediagram – oppadgående trend">
            <a:extLst>
              <a:ext uri="{FF2B5EF4-FFF2-40B4-BE49-F238E27FC236}">
                <a16:creationId xmlns:a16="http://schemas.microsoft.com/office/drawing/2014/main" id="{7485A172-82A2-4FE2-902C-DA907B0B68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50242" y="3074024"/>
            <a:ext cx="714228" cy="714228"/>
          </a:xfrm>
          <a:prstGeom prst="rect">
            <a:avLst/>
          </a:prstGeom>
        </p:spPr>
      </p:pic>
      <p:pic>
        <p:nvPicPr>
          <p:cNvPr id="17" name="Grafikk 16" descr="Tilkoblinger">
            <a:extLst>
              <a:ext uri="{FF2B5EF4-FFF2-40B4-BE49-F238E27FC236}">
                <a16:creationId xmlns:a16="http://schemas.microsoft.com/office/drawing/2014/main" id="{5504DFAA-9618-49BB-9608-19FBC8648A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0242" y="2303496"/>
            <a:ext cx="714228" cy="714228"/>
          </a:xfrm>
          <a:prstGeom prst="rect">
            <a:avLst/>
          </a:prstGeom>
        </p:spPr>
      </p:pic>
      <p:pic>
        <p:nvPicPr>
          <p:cNvPr id="19" name="Grafikk 18" descr="Presentasjon med medier">
            <a:extLst>
              <a:ext uri="{FF2B5EF4-FFF2-40B4-BE49-F238E27FC236}">
                <a16:creationId xmlns:a16="http://schemas.microsoft.com/office/drawing/2014/main" id="{35E5DFBA-DD43-42A5-A3F9-72FDA9F25D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50242" y="4615081"/>
            <a:ext cx="714228" cy="714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09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8"/>
          <p:cNvSpPr/>
          <p:nvPr/>
        </p:nvSpPr>
        <p:spPr>
          <a:xfrm>
            <a:off x="1393718" y="1738435"/>
            <a:ext cx="5600879" cy="45434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Budsjett og prognose 2020 og budsjett 2021</a:t>
            </a:r>
          </a:p>
        </p:txBody>
      </p:sp>
      <p:sp>
        <p:nvSpPr>
          <p:cNvPr id="12" name="Rektangel 9"/>
          <p:cNvSpPr/>
          <p:nvPr/>
        </p:nvSpPr>
        <p:spPr>
          <a:xfrm>
            <a:off x="708885" y="1180236"/>
            <a:ext cx="599922" cy="454350"/>
          </a:xfrm>
          <a:prstGeom prst="rect">
            <a:avLst/>
          </a:prstGeom>
          <a:solidFill>
            <a:schemeClr val="tx2"/>
          </a:solidFill>
          <a:ln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schemeClr val="bg1"/>
                </a:solidFill>
                <a:latin typeface="Arial" panose="020B0604020202020204"/>
              </a:rPr>
              <a:t>1</a:t>
            </a:r>
          </a:p>
        </p:txBody>
      </p:sp>
      <p:sp>
        <p:nvSpPr>
          <p:cNvPr id="13" name="Rektangel 10"/>
          <p:cNvSpPr/>
          <p:nvPr/>
        </p:nvSpPr>
        <p:spPr>
          <a:xfrm>
            <a:off x="708885" y="1738429"/>
            <a:ext cx="599922" cy="454350"/>
          </a:xfrm>
          <a:prstGeom prst="rect">
            <a:avLst/>
          </a:prstGeom>
          <a:solidFill>
            <a:schemeClr val="tx2"/>
          </a:solidFill>
          <a:ln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schemeClr val="bg1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14" name="Rektangel 11"/>
          <p:cNvSpPr/>
          <p:nvPr/>
        </p:nvSpPr>
        <p:spPr>
          <a:xfrm>
            <a:off x="1393718" y="1180242"/>
            <a:ext cx="5600879" cy="45434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Godkjenning av innkalling og dagsorden</a:t>
            </a:r>
          </a:p>
        </p:txBody>
      </p:sp>
      <p:sp>
        <p:nvSpPr>
          <p:cNvPr id="22" name="Rektangel 9">
            <a:extLst>
              <a:ext uri="{FF2B5EF4-FFF2-40B4-BE49-F238E27FC236}">
                <a16:creationId xmlns:a16="http://schemas.microsoft.com/office/drawing/2014/main" id="{B2781C80-B97D-4C2D-9EF2-961A74645EBF}"/>
              </a:ext>
            </a:extLst>
          </p:cNvPr>
          <p:cNvSpPr/>
          <p:nvPr/>
        </p:nvSpPr>
        <p:spPr>
          <a:xfrm>
            <a:off x="711343" y="3954869"/>
            <a:ext cx="599922" cy="454350"/>
          </a:xfrm>
          <a:prstGeom prst="rect">
            <a:avLst/>
          </a:prstGeom>
          <a:solidFill>
            <a:schemeClr val="tx2"/>
          </a:solidFill>
          <a:ln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schemeClr val="bg1"/>
                </a:solidFill>
                <a:latin typeface="Arial" panose="020B0604020202020204"/>
              </a:rPr>
              <a:t>457</a:t>
            </a:r>
          </a:p>
        </p:txBody>
      </p:sp>
      <p:sp>
        <p:nvSpPr>
          <p:cNvPr id="23" name="Rektangel 11">
            <a:extLst>
              <a:ext uri="{FF2B5EF4-FFF2-40B4-BE49-F238E27FC236}">
                <a16:creationId xmlns:a16="http://schemas.microsoft.com/office/drawing/2014/main" id="{53A16B9E-05E9-43DC-97B8-1E47CA3EB582}"/>
              </a:ext>
            </a:extLst>
          </p:cNvPr>
          <p:cNvSpPr/>
          <p:nvPr/>
        </p:nvSpPr>
        <p:spPr>
          <a:xfrm>
            <a:off x="1396176" y="3954877"/>
            <a:ext cx="5600879" cy="45434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>
              <a:defRPr/>
            </a:pPr>
            <a:r>
              <a:rPr lang="nb-NO" sz="1400" dirty="0"/>
              <a:t>Eventuelt</a:t>
            </a:r>
            <a:endParaRPr lang="nb-NO" sz="1400" dirty="0">
              <a:latin typeface="Arial" panose="020B0604020202020204"/>
            </a:endParaRPr>
          </a:p>
        </p:txBody>
      </p:sp>
      <p:sp>
        <p:nvSpPr>
          <p:cNvPr id="34" name="Rektangel 9">
            <a:extLst>
              <a:ext uri="{FF2B5EF4-FFF2-40B4-BE49-F238E27FC236}">
                <a16:creationId xmlns:a16="http://schemas.microsoft.com/office/drawing/2014/main" id="{CB346AB1-B44E-4EDC-8919-6C5738168BFB}"/>
              </a:ext>
            </a:extLst>
          </p:cNvPr>
          <p:cNvSpPr/>
          <p:nvPr/>
        </p:nvSpPr>
        <p:spPr>
          <a:xfrm>
            <a:off x="711343" y="3396676"/>
            <a:ext cx="599922" cy="454350"/>
          </a:xfrm>
          <a:prstGeom prst="rect">
            <a:avLst/>
          </a:prstGeom>
          <a:solidFill>
            <a:schemeClr val="tx2"/>
          </a:solidFill>
          <a:ln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schemeClr val="bg1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35" name="Rektangel 11">
            <a:extLst>
              <a:ext uri="{FF2B5EF4-FFF2-40B4-BE49-F238E27FC236}">
                <a16:creationId xmlns:a16="http://schemas.microsoft.com/office/drawing/2014/main" id="{4A1963F2-20EA-4C3A-A0CD-66CC64A994D4}"/>
              </a:ext>
            </a:extLst>
          </p:cNvPr>
          <p:cNvSpPr/>
          <p:nvPr/>
        </p:nvSpPr>
        <p:spPr>
          <a:xfrm>
            <a:off x="1396176" y="3396684"/>
            <a:ext cx="5600879" cy="45434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>
              <a:defRPr/>
            </a:pPr>
            <a:r>
              <a:rPr lang="nb-NO" sz="1400" dirty="0"/>
              <a:t>Veien videre og møtedato vår 2021</a:t>
            </a:r>
          </a:p>
        </p:txBody>
      </p:sp>
      <p:sp>
        <p:nvSpPr>
          <p:cNvPr id="32" name="Rektangel 8">
            <a:extLst>
              <a:ext uri="{FF2B5EF4-FFF2-40B4-BE49-F238E27FC236}">
                <a16:creationId xmlns:a16="http://schemas.microsoft.com/office/drawing/2014/main" id="{E5471509-1E1E-4519-867A-D158EEAC1A61}"/>
              </a:ext>
            </a:extLst>
          </p:cNvPr>
          <p:cNvSpPr/>
          <p:nvPr/>
        </p:nvSpPr>
        <p:spPr>
          <a:xfrm>
            <a:off x="7127264" y="1187594"/>
            <a:ext cx="1167820" cy="43428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defTabSz="914355">
              <a:defRPr/>
            </a:pPr>
            <a:r>
              <a:rPr lang="nb-NO" sz="1400" dirty="0">
                <a:latin typeface="Arial" panose="020B0604020202020204"/>
              </a:rPr>
              <a:t>10:00-10:15</a:t>
            </a:r>
          </a:p>
        </p:txBody>
      </p:sp>
      <p:sp>
        <p:nvSpPr>
          <p:cNvPr id="33" name="Rektangel 8">
            <a:extLst>
              <a:ext uri="{FF2B5EF4-FFF2-40B4-BE49-F238E27FC236}">
                <a16:creationId xmlns:a16="http://schemas.microsoft.com/office/drawing/2014/main" id="{0113D5DF-705E-431E-B83B-9B1B6931B4CF}"/>
              </a:ext>
            </a:extLst>
          </p:cNvPr>
          <p:cNvSpPr/>
          <p:nvPr/>
        </p:nvSpPr>
        <p:spPr>
          <a:xfrm>
            <a:off x="7127264" y="1745783"/>
            <a:ext cx="1167820" cy="43428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defTabSz="914355">
              <a:defRPr/>
            </a:pPr>
            <a:r>
              <a:rPr lang="nb-NO" sz="1400" dirty="0">
                <a:latin typeface="Arial" panose="020B0604020202020204"/>
              </a:rPr>
              <a:t>10:15 -11:15</a:t>
            </a:r>
          </a:p>
        </p:txBody>
      </p:sp>
      <p:sp>
        <p:nvSpPr>
          <p:cNvPr id="38" name="Rektangel 8">
            <a:extLst>
              <a:ext uri="{FF2B5EF4-FFF2-40B4-BE49-F238E27FC236}">
                <a16:creationId xmlns:a16="http://schemas.microsoft.com/office/drawing/2014/main" id="{5F013FA6-8554-4E98-9610-797484C0200B}"/>
              </a:ext>
            </a:extLst>
          </p:cNvPr>
          <p:cNvSpPr/>
          <p:nvPr/>
        </p:nvSpPr>
        <p:spPr>
          <a:xfrm>
            <a:off x="7129722" y="2846048"/>
            <a:ext cx="1167820" cy="43428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defTabSz="914355">
              <a:defRPr/>
            </a:pPr>
            <a:r>
              <a:rPr lang="nb-NO" sz="1400" dirty="0">
                <a:latin typeface="Arial" panose="020B0604020202020204"/>
              </a:rPr>
              <a:t>11:45 -12.45</a:t>
            </a:r>
          </a:p>
        </p:txBody>
      </p:sp>
      <p:sp>
        <p:nvSpPr>
          <p:cNvPr id="49" name="Rektangel 8">
            <a:extLst>
              <a:ext uri="{FF2B5EF4-FFF2-40B4-BE49-F238E27FC236}">
                <a16:creationId xmlns:a16="http://schemas.microsoft.com/office/drawing/2014/main" id="{8B8B103F-E9BC-483E-8366-1CEBA91BC05E}"/>
              </a:ext>
            </a:extLst>
          </p:cNvPr>
          <p:cNvSpPr/>
          <p:nvPr/>
        </p:nvSpPr>
        <p:spPr>
          <a:xfrm>
            <a:off x="7135584" y="2322193"/>
            <a:ext cx="1167820" cy="43428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6068" tIns="38034" rIns="76068" bIns="38034" anchor="ctr" anchorCtr="0">
            <a:noAutofit/>
          </a:bodyPr>
          <a:lstStyle/>
          <a:p>
            <a:pPr defTabSz="914355">
              <a:defRPr/>
            </a:pPr>
            <a:r>
              <a:rPr lang="nb-NO" sz="1400" dirty="0">
                <a:solidFill>
                  <a:schemeClr val="tx1"/>
                </a:solidFill>
                <a:latin typeface="Arial" panose="020B0604020202020204"/>
              </a:rPr>
              <a:t>11:15-11:45</a:t>
            </a:r>
          </a:p>
        </p:txBody>
      </p:sp>
      <p:sp>
        <p:nvSpPr>
          <p:cNvPr id="44" name="Rektangel 11">
            <a:extLst>
              <a:ext uri="{FF2B5EF4-FFF2-40B4-BE49-F238E27FC236}">
                <a16:creationId xmlns:a16="http://schemas.microsoft.com/office/drawing/2014/main" id="{B7BB5381-ACC4-4B0A-9E73-C7D2A7635431}"/>
              </a:ext>
            </a:extLst>
          </p:cNvPr>
          <p:cNvSpPr/>
          <p:nvPr/>
        </p:nvSpPr>
        <p:spPr>
          <a:xfrm>
            <a:off x="1393718" y="2322468"/>
            <a:ext cx="5600879" cy="45434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6068" tIns="38034" rIns="76068" bIns="38034" anchor="ctr" anchorCtr="0">
            <a:noAutofit/>
          </a:bodyPr>
          <a:lstStyle/>
          <a:p>
            <a:r>
              <a:rPr lang="nb-NO" sz="1400" dirty="0" err="1"/>
              <a:t>Lunch</a:t>
            </a:r>
            <a:r>
              <a:rPr lang="nb-NO" sz="1400" dirty="0"/>
              <a:t> / pause</a:t>
            </a:r>
          </a:p>
        </p:txBody>
      </p:sp>
      <p:sp>
        <p:nvSpPr>
          <p:cNvPr id="51" name="Rektangel 11">
            <a:extLst>
              <a:ext uri="{FF2B5EF4-FFF2-40B4-BE49-F238E27FC236}">
                <a16:creationId xmlns:a16="http://schemas.microsoft.com/office/drawing/2014/main" id="{2B256A36-0DAE-40F6-A2DB-D8BB78D740FA}"/>
              </a:ext>
            </a:extLst>
          </p:cNvPr>
          <p:cNvSpPr/>
          <p:nvPr/>
        </p:nvSpPr>
        <p:spPr>
          <a:xfrm>
            <a:off x="1393718" y="2825983"/>
            <a:ext cx="5600879" cy="45434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Fordelingsprinsipper</a:t>
            </a: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7FBE9E54-7D1A-4FEA-9E6E-897240597679}"/>
              </a:ext>
            </a:extLst>
          </p:cNvPr>
          <p:cNvSpPr/>
          <p:nvPr/>
        </p:nvSpPr>
        <p:spPr>
          <a:xfrm>
            <a:off x="703642" y="2812917"/>
            <a:ext cx="599922" cy="454350"/>
          </a:xfrm>
          <a:prstGeom prst="rect">
            <a:avLst/>
          </a:prstGeom>
          <a:solidFill>
            <a:schemeClr val="tx2"/>
          </a:solidFill>
          <a:ln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schemeClr val="bg1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66" name="Rektangel 8">
            <a:extLst>
              <a:ext uri="{FF2B5EF4-FFF2-40B4-BE49-F238E27FC236}">
                <a16:creationId xmlns:a16="http://schemas.microsoft.com/office/drawing/2014/main" id="{1B324D50-004E-43C3-92AC-7718316CCDD6}"/>
              </a:ext>
            </a:extLst>
          </p:cNvPr>
          <p:cNvSpPr/>
          <p:nvPr/>
        </p:nvSpPr>
        <p:spPr>
          <a:xfrm>
            <a:off x="7133185" y="3394870"/>
            <a:ext cx="1167820" cy="43428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defTabSz="914355">
              <a:defRPr/>
            </a:pPr>
            <a:r>
              <a:rPr lang="nb-NO" sz="1400" dirty="0">
                <a:latin typeface="Arial" panose="020B0604020202020204"/>
              </a:rPr>
              <a:t>12:45 -12:55</a:t>
            </a:r>
          </a:p>
        </p:txBody>
      </p:sp>
      <p:sp>
        <p:nvSpPr>
          <p:cNvPr id="71" name="Rektangel 8">
            <a:extLst>
              <a:ext uri="{FF2B5EF4-FFF2-40B4-BE49-F238E27FC236}">
                <a16:creationId xmlns:a16="http://schemas.microsoft.com/office/drawing/2014/main" id="{753CF98A-E23F-450E-B952-2B45DEC15F6F}"/>
              </a:ext>
            </a:extLst>
          </p:cNvPr>
          <p:cNvSpPr/>
          <p:nvPr/>
        </p:nvSpPr>
        <p:spPr>
          <a:xfrm>
            <a:off x="7147039" y="3956843"/>
            <a:ext cx="1167820" cy="43428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defTabSz="914355">
              <a:defRPr/>
            </a:pPr>
            <a:r>
              <a:rPr lang="nb-NO" sz="1400" dirty="0">
                <a:latin typeface="Arial" panose="020B0604020202020204"/>
              </a:rPr>
              <a:t>12:55 -13:00</a:t>
            </a:r>
          </a:p>
        </p:txBody>
      </p:sp>
    </p:spTree>
    <p:extLst>
      <p:ext uri="{BB962C8B-B14F-4D97-AF65-F5344CB8AC3E}">
        <p14:creationId xmlns:p14="http://schemas.microsoft.com/office/powerpoint/2010/main" val="29114857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0E214AD-9D63-473F-A53D-4D44E00071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angert som nr. 2: Fordeling C, Organisatorisk klart til bruk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E43F22B-37D4-444E-AA7C-4B41E691DF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30</a:t>
            </a:fld>
            <a:endParaRPr lang="nb-NO" dirty="0"/>
          </a:p>
        </p:txBody>
      </p:sp>
      <p:graphicFrame>
        <p:nvGraphicFramePr>
          <p:cNvPr id="7" name="Plassholder for innhold 6">
            <a:extLst>
              <a:ext uri="{FF2B5EF4-FFF2-40B4-BE49-F238E27FC236}">
                <a16:creationId xmlns:a16="http://schemas.microsoft.com/office/drawing/2014/main" id="{FAAD6C25-7784-4871-9E4B-FDB87822C65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187606" y="1895863"/>
          <a:ext cx="9816788" cy="3537620"/>
        </p:xfrm>
        <a:graphic>
          <a:graphicData uri="http://schemas.openxmlformats.org/drawingml/2006/table">
            <a:tbl>
              <a:tblPr firstRow="1" firstCol="1" bandRow="1"/>
              <a:tblGrid>
                <a:gridCol w="1404594">
                  <a:extLst>
                    <a:ext uri="{9D8B030D-6E8A-4147-A177-3AD203B41FA5}">
                      <a16:colId xmlns:a16="http://schemas.microsoft.com/office/drawing/2014/main" val="4040552649"/>
                    </a:ext>
                  </a:extLst>
                </a:gridCol>
                <a:gridCol w="8412194">
                  <a:extLst>
                    <a:ext uri="{9D8B030D-6E8A-4147-A177-3AD203B41FA5}">
                      <a16:colId xmlns:a16="http://schemas.microsoft.com/office/drawing/2014/main" val="2500775835"/>
                    </a:ext>
                  </a:extLst>
                </a:gridCol>
              </a:tblGrid>
              <a:tr h="339364">
                <a:tc>
                  <a:txBody>
                    <a:bodyPr/>
                    <a:lstStyle/>
                    <a:p>
                      <a:pPr marL="0" marR="0" lvl="0" indent="0" algn="l" defTabSz="9143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1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 hvilken grad gir kostnadsfordelingen insentiver til: </a:t>
                      </a:r>
                      <a:endParaRPr lang="nb-NO" sz="1800" b="0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3083122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. Fremme innføring og gevinstrealisering: </a:t>
                      </a:r>
                      <a:r>
                        <a:rPr lang="nb-NO" sz="16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et antas at fordelingen i</a:t>
                      </a:r>
                      <a:r>
                        <a:rPr lang="nb-NO" sz="1600" dirty="0"/>
                        <a:t> mindre grad vil stimulere til at løsningene implementeres raskt (sammenlignet med A, B og F), selv om prinsippet legger et visst press på aktørene gitt tilslutning til notat til HOD av 30.2.2020.</a:t>
                      </a:r>
                      <a:endParaRPr lang="nb-NO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5883581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. Forutsigbarhet i inntekter og kostnader for involverte aktører: </a:t>
                      </a:r>
                      <a:r>
                        <a:rPr lang="nb-NO" sz="1600" b="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et b</a:t>
                      </a:r>
                      <a:r>
                        <a:rPr lang="nb-NO" sz="1600" dirty="0"/>
                        <a:t>eskrives tydelig i nevnte notat når man mener betalingsforpliktelsen for de ulike løsningene bør inntreffe. Kostnadsfordeling vil endre seg gradvis fra 2021 (70/30) frem til 2024 (50/50). </a:t>
                      </a:r>
                      <a:endParaRPr lang="nb-NO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2427360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. Rettferdig fordeling: </a:t>
                      </a:r>
                      <a:r>
                        <a:rPr lang="nb-NO" sz="16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Fordelingen </a:t>
                      </a:r>
                      <a:r>
                        <a:rPr lang="nb-NO" sz="1600" dirty="0"/>
                        <a:t>tar innover seg noe av kompleksiteten aktørene står ovenfor når man skal innføre nasjonale e-helseløsninger og foreslår derfor ulike innføringstidspunkter per aktør per løsning. Dette anses som mer rettferdig enn A og B.</a:t>
                      </a:r>
                      <a:endParaRPr lang="nb-NO" sz="16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6742082"/>
                  </a:ext>
                </a:extLst>
              </a:tr>
              <a:tr h="799564"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endParaRPr lang="nb-NO" sz="16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310" rtl="0" eaLnBrk="1" latinLnBrk="0" hangingPunct="1">
                        <a:lnSpc>
                          <a:spcPct val="11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SzPts val="1100"/>
                        <a:buFont typeface="+mj-lt"/>
                        <a:buNone/>
                      </a:pPr>
                      <a:r>
                        <a:rPr lang="nb-NO" sz="16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4. Enkel å administrere (kostnadseffektiv): </a:t>
                      </a:r>
                      <a:r>
                        <a:rPr lang="nb-NO" sz="16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Ved tilslutning til nevnte notat vil denne fordelingen være relativt</a:t>
                      </a:r>
                      <a:r>
                        <a:rPr lang="nb-NO" sz="16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nb-NO" sz="1600" b="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nkel å administrere, da fordelingsnøkkelen er gitt i notatet.</a:t>
                      </a:r>
                      <a:endParaRPr lang="nb-NO" sz="16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3828833"/>
                  </a:ext>
                </a:extLst>
              </a:tr>
            </a:tbl>
          </a:graphicData>
        </a:graphic>
      </p:graphicFrame>
      <p:pic>
        <p:nvPicPr>
          <p:cNvPr id="9" name="Grafikk 8" descr="Justitias vekt">
            <a:extLst>
              <a:ext uri="{FF2B5EF4-FFF2-40B4-BE49-F238E27FC236}">
                <a16:creationId xmlns:a16="http://schemas.microsoft.com/office/drawing/2014/main" id="{286C5807-00A7-41DC-BF00-F3F19D0936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50242" y="3844552"/>
            <a:ext cx="714228" cy="714228"/>
          </a:xfrm>
          <a:prstGeom prst="rect">
            <a:avLst/>
          </a:prstGeom>
        </p:spPr>
      </p:pic>
      <p:pic>
        <p:nvPicPr>
          <p:cNvPr id="13" name="Grafikk 12" descr="Stolpediagram – oppadgående trend">
            <a:extLst>
              <a:ext uri="{FF2B5EF4-FFF2-40B4-BE49-F238E27FC236}">
                <a16:creationId xmlns:a16="http://schemas.microsoft.com/office/drawing/2014/main" id="{7485A172-82A2-4FE2-902C-DA907B0B68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50242" y="3074024"/>
            <a:ext cx="714228" cy="714228"/>
          </a:xfrm>
          <a:prstGeom prst="rect">
            <a:avLst/>
          </a:prstGeom>
        </p:spPr>
      </p:pic>
      <p:pic>
        <p:nvPicPr>
          <p:cNvPr id="17" name="Grafikk 16" descr="Tilkoblinger">
            <a:extLst>
              <a:ext uri="{FF2B5EF4-FFF2-40B4-BE49-F238E27FC236}">
                <a16:creationId xmlns:a16="http://schemas.microsoft.com/office/drawing/2014/main" id="{5504DFAA-9618-49BB-9608-19FBC8648A4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50242" y="2303496"/>
            <a:ext cx="714228" cy="714228"/>
          </a:xfrm>
          <a:prstGeom prst="rect">
            <a:avLst/>
          </a:prstGeom>
        </p:spPr>
      </p:pic>
      <p:pic>
        <p:nvPicPr>
          <p:cNvPr id="19" name="Grafikk 18" descr="Presentasjon med medier">
            <a:extLst>
              <a:ext uri="{FF2B5EF4-FFF2-40B4-BE49-F238E27FC236}">
                <a16:creationId xmlns:a16="http://schemas.microsoft.com/office/drawing/2014/main" id="{35E5DFBA-DD43-42A5-A3F9-72FDA9F25D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50242" y="4615081"/>
            <a:ext cx="714228" cy="714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3674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0A04A312-D113-44D0-8D0A-3CBBB4779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dirty="0"/>
              <a:t>B versus C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AB19300-9910-495B-8E21-B1B38ECCD47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31</a:t>
            </a:fld>
            <a:endParaRPr lang="nb-NO" dirty="0"/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3DC44720-58E3-4C9C-BE8A-C45A0FA1307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99242" y="1818000"/>
            <a:ext cx="4162947" cy="4329000"/>
          </a:xfrm>
          <a:ln w="19050">
            <a:noFill/>
            <a:extLst>
              <a:ext uri="{C807C97D-BFC1-408E-A445-0C87EB9F89A2}">
                <ask:lineSketchStyleProps xmlns:ask="http://schemas.microsoft.com/office/drawing/2018/sketchyshapes" sd="2005560009">
                  <a:custGeom>
                    <a:avLst/>
                    <a:gdLst>
                      <a:gd name="connsiteX0" fmla="*/ 0 w 4162947"/>
                      <a:gd name="connsiteY0" fmla="*/ 0 h 4329000"/>
                      <a:gd name="connsiteX1" fmla="*/ 4162947 w 4162947"/>
                      <a:gd name="connsiteY1" fmla="*/ 0 h 4329000"/>
                      <a:gd name="connsiteX2" fmla="*/ 4162947 w 4162947"/>
                      <a:gd name="connsiteY2" fmla="*/ 4329000 h 4329000"/>
                      <a:gd name="connsiteX3" fmla="*/ 0 w 4162947"/>
                      <a:gd name="connsiteY3" fmla="*/ 4329000 h 4329000"/>
                      <a:gd name="connsiteX4" fmla="*/ 0 w 4162947"/>
                      <a:gd name="connsiteY4" fmla="*/ 0 h 4329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62947" h="4329000" fill="none" extrusionOk="0">
                        <a:moveTo>
                          <a:pt x="0" y="0"/>
                        </a:moveTo>
                        <a:cubicBezTo>
                          <a:pt x="1605406" y="-106320"/>
                          <a:pt x="3261964" y="-7055"/>
                          <a:pt x="4162947" y="0"/>
                        </a:cubicBezTo>
                        <a:cubicBezTo>
                          <a:pt x="4127516" y="775503"/>
                          <a:pt x="4056204" y="3599820"/>
                          <a:pt x="4162947" y="4329000"/>
                        </a:cubicBezTo>
                        <a:cubicBezTo>
                          <a:pt x="2471359" y="4400328"/>
                          <a:pt x="631033" y="4203642"/>
                          <a:pt x="0" y="4329000"/>
                        </a:cubicBezTo>
                        <a:cubicBezTo>
                          <a:pt x="169002" y="2902691"/>
                          <a:pt x="-156959" y="792628"/>
                          <a:pt x="0" y="0"/>
                        </a:cubicBezTo>
                        <a:close/>
                      </a:path>
                      <a:path w="4162947" h="4329000" stroke="0" extrusionOk="0">
                        <a:moveTo>
                          <a:pt x="0" y="0"/>
                        </a:moveTo>
                        <a:cubicBezTo>
                          <a:pt x="1551785" y="87586"/>
                          <a:pt x="2925188" y="61263"/>
                          <a:pt x="4162947" y="0"/>
                        </a:cubicBezTo>
                        <a:cubicBezTo>
                          <a:pt x="4208075" y="1187751"/>
                          <a:pt x="4123616" y="3894110"/>
                          <a:pt x="4162947" y="4329000"/>
                        </a:cubicBezTo>
                        <a:cubicBezTo>
                          <a:pt x="3414293" y="4218898"/>
                          <a:pt x="1252985" y="4183622"/>
                          <a:pt x="0" y="4329000"/>
                        </a:cubicBezTo>
                        <a:cubicBezTo>
                          <a:pt x="143731" y="3240298"/>
                          <a:pt x="26554" y="540607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/>
          <a:lstStyle/>
          <a:p>
            <a:pPr marL="0" indent="0" algn="r">
              <a:buNone/>
            </a:pPr>
            <a:r>
              <a:rPr lang="nb-NO" b="1" dirty="0"/>
              <a:t>Teknisk klart fra NHN</a:t>
            </a:r>
          </a:p>
          <a:p>
            <a:pPr marL="0" indent="0" algn="r">
              <a:buNone/>
            </a:pPr>
            <a:r>
              <a:rPr lang="nb-NO" dirty="0"/>
              <a:t>50/50 fra dag 1 på ubestemt tid</a:t>
            </a:r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b="1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5D67BDB-19D8-4F3F-8072-17F9D7974A0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432981" y="1818000"/>
            <a:ext cx="1326038" cy="4329000"/>
          </a:xfrm>
          <a:ln w="19050">
            <a:solidFill>
              <a:schemeClr val="accent3"/>
            </a:solidFill>
            <a:extLst>
              <a:ext uri="{C807C97D-BFC1-408E-A445-0C87EB9F89A2}">
                <ask:lineSketchStyleProps xmlns:ask="http://schemas.microsoft.com/office/drawing/2018/sketchyshapes" sd="1064346110">
                  <a:custGeom>
                    <a:avLst/>
                    <a:gdLst>
                      <a:gd name="connsiteX0" fmla="*/ 0 w 1150070"/>
                      <a:gd name="connsiteY0" fmla="*/ 0 h 4329000"/>
                      <a:gd name="connsiteX1" fmla="*/ 1150070 w 1150070"/>
                      <a:gd name="connsiteY1" fmla="*/ 0 h 4329000"/>
                      <a:gd name="connsiteX2" fmla="*/ 1150070 w 1150070"/>
                      <a:gd name="connsiteY2" fmla="*/ 4329000 h 4329000"/>
                      <a:gd name="connsiteX3" fmla="*/ 0 w 1150070"/>
                      <a:gd name="connsiteY3" fmla="*/ 4329000 h 4329000"/>
                      <a:gd name="connsiteX4" fmla="*/ 0 w 1150070"/>
                      <a:gd name="connsiteY4" fmla="*/ 0 h 4329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150070" h="4329000" fill="none" extrusionOk="0">
                        <a:moveTo>
                          <a:pt x="0" y="0"/>
                        </a:moveTo>
                        <a:cubicBezTo>
                          <a:pt x="286578" y="60675"/>
                          <a:pt x="865633" y="59549"/>
                          <a:pt x="1150070" y="0"/>
                        </a:cubicBezTo>
                        <a:cubicBezTo>
                          <a:pt x="1034474" y="901786"/>
                          <a:pt x="1209277" y="3085270"/>
                          <a:pt x="1150070" y="4329000"/>
                        </a:cubicBezTo>
                        <a:cubicBezTo>
                          <a:pt x="764227" y="4385322"/>
                          <a:pt x="465408" y="4299928"/>
                          <a:pt x="0" y="4329000"/>
                        </a:cubicBezTo>
                        <a:cubicBezTo>
                          <a:pt x="-103215" y="3394388"/>
                          <a:pt x="-47924" y="575623"/>
                          <a:pt x="0" y="0"/>
                        </a:cubicBezTo>
                        <a:close/>
                      </a:path>
                      <a:path w="1150070" h="4329000" stroke="0" extrusionOk="0">
                        <a:moveTo>
                          <a:pt x="0" y="0"/>
                        </a:moveTo>
                        <a:cubicBezTo>
                          <a:pt x="504620" y="70704"/>
                          <a:pt x="998693" y="-92918"/>
                          <a:pt x="1150070" y="0"/>
                        </a:cubicBezTo>
                        <a:cubicBezTo>
                          <a:pt x="1110958" y="1553457"/>
                          <a:pt x="1042231" y="3209541"/>
                          <a:pt x="1150070" y="4329000"/>
                        </a:cubicBezTo>
                        <a:cubicBezTo>
                          <a:pt x="582630" y="4369596"/>
                          <a:pt x="331597" y="4314518"/>
                          <a:pt x="0" y="4329000"/>
                        </a:cubicBezTo>
                        <a:cubicBezTo>
                          <a:pt x="-149440" y="2529961"/>
                          <a:pt x="-60884" y="1223411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/>
          <a:lstStyle/>
          <a:p>
            <a:pPr marL="0" indent="0" algn="ctr">
              <a:buNone/>
            </a:pPr>
            <a:r>
              <a:rPr lang="nb-NO" b="1" dirty="0"/>
              <a:t>Kriterier</a:t>
            </a:r>
          </a:p>
        </p:txBody>
      </p:sp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83A4FD26-F7EE-40AD-85C3-8EBCE3BAD35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7129811" y="1818000"/>
            <a:ext cx="4162947" cy="4329000"/>
          </a:xfrm>
          <a:ln w="19050">
            <a:noFill/>
            <a:extLst>
              <a:ext uri="{C807C97D-BFC1-408E-A445-0C87EB9F89A2}">
                <ask:lineSketchStyleProps xmlns:ask="http://schemas.microsoft.com/office/drawing/2018/sketchyshapes" sd="730570478">
                  <a:custGeom>
                    <a:avLst/>
                    <a:gdLst>
                      <a:gd name="connsiteX0" fmla="*/ 0 w 4162947"/>
                      <a:gd name="connsiteY0" fmla="*/ 0 h 4329000"/>
                      <a:gd name="connsiteX1" fmla="*/ 4162947 w 4162947"/>
                      <a:gd name="connsiteY1" fmla="*/ 0 h 4329000"/>
                      <a:gd name="connsiteX2" fmla="*/ 4162947 w 4162947"/>
                      <a:gd name="connsiteY2" fmla="*/ 4329000 h 4329000"/>
                      <a:gd name="connsiteX3" fmla="*/ 0 w 4162947"/>
                      <a:gd name="connsiteY3" fmla="*/ 4329000 h 4329000"/>
                      <a:gd name="connsiteX4" fmla="*/ 0 w 4162947"/>
                      <a:gd name="connsiteY4" fmla="*/ 0 h 4329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162947" h="4329000" fill="none" extrusionOk="0">
                        <a:moveTo>
                          <a:pt x="0" y="0"/>
                        </a:moveTo>
                        <a:cubicBezTo>
                          <a:pt x="1386018" y="-42153"/>
                          <a:pt x="3184744" y="-91824"/>
                          <a:pt x="4162947" y="0"/>
                        </a:cubicBezTo>
                        <a:cubicBezTo>
                          <a:pt x="4030740" y="2088092"/>
                          <a:pt x="4001321" y="3548045"/>
                          <a:pt x="4162947" y="4329000"/>
                        </a:cubicBezTo>
                        <a:cubicBezTo>
                          <a:pt x="3616402" y="4462735"/>
                          <a:pt x="1147203" y="4478310"/>
                          <a:pt x="0" y="4329000"/>
                        </a:cubicBezTo>
                        <a:cubicBezTo>
                          <a:pt x="98024" y="2680130"/>
                          <a:pt x="101841" y="626555"/>
                          <a:pt x="0" y="0"/>
                        </a:cubicBezTo>
                        <a:close/>
                      </a:path>
                      <a:path w="4162947" h="4329000" stroke="0" extrusionOk="0">
                        <a:moveTo>
                          <a:pt x="0" y="0"/>
                        </a:moveTo>
                        <a:cubicBezTo>
                          <a:pt x="2020794" y="160379"/>
                          <a:pt x="3228030" y="-59200"/>
                          <a:pt x="4162947" y="0"/>
                        </a:cubicBezTo>
                        <a:cubicBezTo>
                          <a:pt x="4315930" y="447103"/>
                          <a:pt x="4097903" y="2702357"/>
                          <a:pt x="4162947" y="4329000"/>
                        </a:cubicBezTo>
                        <a:cubicBezTo>
                          <a:pt x="3444654" y="4418404"/>
                          <a:pt x="1707346" y="4267554"/>
                          <a:pt x="0" y="4329000"/>
                        </a:cubicBezTo>
                        <a:cubicBezTo>
                          <a:pt x="-84361" y="2957710"/>
                          <a:pt x="-105733" y="735418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/>
          <a:lstStyle/>
          <a:p>
            <a:pPr marL="0" indent="0">
              <a:buNone/>
            </a:pPr>
            <a:r>
              <a:rPr lang="nb-NO" b="1" dirty="0"/>
              <a:t>Organisatorisk klart til bruk</a:t>
            </a:r>
          </a:p>
          <a:p>
            <a:pPr marL="0" indent="0">
              <a:buNone/>
            </a:pPr>
            <a:r>
              <a:rPr lang="nb-NO" dirty="0"/>
              <a:t>2021: 70/30 </a:t>
            </a:r>
            <a:r>
              <a:rPr lang="nb-NO" dirty="0">
                <a:sym typeface="Wingdings" panose="05000000000000000000" pitchFamily="2" charset="2"/>
              </a:rPr>
              <a:t> 2024: 50/50</a:t>
            </a:r>
            <a:endParaRPr lang="nb-NO" dirty="0"/>
          </a:p>
        </p:txBody>
      </p:sp>
      <p:pic>
        <p:nvPicPr>
          <p:cNvPr id="8" name="Grafikk 7" descr="Justitias vekt">
            <a:extLst>
              <a:ext uri="{FF2B5EF4-FFF2-40B4-BE49-F238E27FC236}">
                <a16:creationId xmlns:a16="http://schemas.microsoft.com/office/drawing/2014/main" id="{40DF055E-A5A9-427B-BEDC-C4CC5A65AC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54850" y="4642642"/>
            <a:ext cx="714228" cy="714228"/>
          </a:xfrm>
          <a:prstGeom prst="rect">
            <a:avLst/>
          </a:prstGeom>
        </p:spPr>
      </p:pic>
      <p:pic>
        <p:nvPicPr>
          <p:cNvPr id="9" name="Grafikk 8" descr="Stolpediagram – oppadgående trend">
            <a:extLst>
              <a:ext uri="{FF2B5EF4-FFF2-40B4-BE49-F238E27FC236}">
                <a16:creationId xmlns:a16="http://schemas.microsoft.com/office/drawing/2014/main" id="{A7B6DC7D-C470-466B-BE26-56353CA211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754850" y="3872114"/>
            <a:ext cx="714228" cy="714228"/>
          </a:xfrm>
          <a:prstGeom prst="rect">
            <a:avLst/>
          </a:prstGeom>
        </p:spPr>
      </p:pic>
      <p:pic>
        <p:nvPicPr>
          <p:cNvPr id="10" name="Grafikk 9" descr="Tilkoblinger">
            <a:extLst>
              <a:ext uri="{FF2B5EF4-FFF2-40B4-BE49-F238E27FC236}">
                <a16:creationId xmlns:a16="http://schemas.microsoft.com/office/drawing/2014/main" id="{67E92660-7DC0-4AE9-98B7-B469F2287D6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54850" y="3101586"/>
            <a:ext cx="714228" cy="714228"/>
          </a:xfrm>
          <a:prstGeom prst="rect">
            <a:avLst/>
          </a:prstGeom>
        </p:spPr>
      </p:pic>
      <p:pic>
        <p:nvPicPr>
          <p:cNvPr id="11" name="Grafikk 10" descr="Presentasjon med medier">
            <a:extLst>
              <a:ext uri="{FF2B5EF4-FFF2-40B4-BE49-F238E27FC236}">
                <a16:creationId xmlns:a16="http://schemas.microsoft.com/office/drawing/2014/main" id="{5A639380-B05B-4238-A099-EA78B971F5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54850" y="5413171"/>
            <a:ext cx="714228" cy="714228"/>
          </a:xfrm>
          <a:prstGeom prst="rect">
            <a:avLst/>
          </a:prstGeom>
        </p:spPr>
      </p:pic>
      <p:pic>
        <p:nvPicPr>
          <p:cNvPr id="15" name="Grafikk 14" descr="Pokal">
            <a:extLst>
              <a:ext uri="{FF2B5EF4-FFF2-40B4-BE49-F238E27FC236}">
                <a16:creationId xmlns:a16="http://schemas.microsoft.com/office/drawing/2014/main" id="{BD5CF14E-9ECD-4F4C-8134-FEF1F7596E4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302978" y="3101586"/>
            <a:ext cx="714228" cy="714228"/>
          </a:xfrm>
          <a:prstGeom prst="rect">
            <a:avLst/>
          </a:prstGeom>
        </p:spPr>
      </p:pic>
      <p:pic>
        <p:nvPicPr>
          <p:cNvPr id="16" name="Grafikk 15" descr="Pokal">
            <a:extLst>
              <a:ext uri="{FF2B5EF4-FFF2-40B4-BE49-F238E27FC236}">
                <a16:creationId xmlns:a16="http://schemas.microsoft.com/office/drawing/2014/main" id="{6FEB59BF-3F80-4869-B972-DAD08686F6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302978" y="3872114"/>
            <a:ext cx="714228" cy="714228"/>
          </a:xfrm>
          <a:prstGeom prst="rect">
            <a:avLst/>
          </a:prstGeom>
        </p:spPr>
      </p:pic>
      <p:pic>
        <p:nvPicPr>
          <p:cNvPr id="17" name="Grafikk 16" descr="Pokal">
            <a:extLst>
              <a:ext uri="{FF2B5EF4-FFF2-40B4-BE49-F238E27FC236}">
                <a16:creationId xmlns:a16="http://schemas.microsoft.com/office/drawing/2014/main" id="{2AA62F16-A7DD-42CE-A96D-5C7CCDF1C06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7179528" y="4642642"/>
            <a:ext cx="714228" cy="714228"/>
          </a:xfrm>
          <a:prstGeom prst="rect">
            <a:avLst/>
          </a:prstGeom>
        </p:spPr>
      </p:pic>
      <p:pic>
        <p:nvPicPr>
          <p:cNvPr id="20" name="Grafikk 19" descr="Pokal">
            <a:extLst>
              <a:ext uri="{FF2B5EF4-FFF2-40B4-BE49-F238E27FC236}">
                <a16:creationId xmlns:a16="http://schemas.microsoft.com/office/drawing/2014/main" id="{1A2E33E7-9328-4185-AFE6-573D71A5730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4302978" y="5413171"/>
            <a:ext cx="714228" cy="714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9554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D14B3D8-32A3-4BCF-81B8-4C9B197A3F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281C2C"/>
                </a:solidFill>
              </a:rPr>
              <a:t>Hvor store summer er det egentlig snakk om?</a:t>
            </a:r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A0901E65-6DF5-49D1-A68A-567582F8143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32</a:t>
            </a:fld>
            <a:endParaRPr lang="nb-NO" dirty="0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3C558E46-2FDA-421D-B127-BC34982C0B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E6902A6F-C332-4024-9698-D0F81A8681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3710" y="3129187"/>
            <a:ext cx="8964580" cy="599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4505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3BB1B8D-84BD-44B6-9C60-03C73B393F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Oppsummert; hva er konsekvensene i 2021 gitt B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744D782-79ED-4AEE-B0FD-A51AF91CB7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50/50 – RHF blir trukket noe mindre (56%)</a:t>
            </a:r>
          </a:p>
          <a:p>
            <a:r>
              <a:rPr lang="nb-NO" dirty="0"/>
              <a:t>Ingen konsekvens for kommunene, samme som i 2020 </a:t>
            </a:r>
          </a:p>
          <a:p>
            <a:r>
              <a:rPr lang="nb-NO" dirty="0"/>
              <a:t>Ingen konsekvens apotek</a:t>
            </a:r>
          </a:p>
          <a:p>
            <a:endParaRPr lang="nb-NO" dirty="0"/>
          </a:p>
          <a:p>
            <a:pPr marL="0" indent="0">
              <a:buNone/>
            </a:pPr>
            <a:r>
              <a:rPr lang="nb-NO" dirty="0"/>
              <a:t>Og gitt B, hva blir konsekvensen i 2022?</a:t>
            </a:r>
          </a:p>
          <a:p>
            <a:r>
              <a:rPr lang="nb-NO" dirty="0"/>
              <a:t>Flyttes 250 </a:t>
            </a:r>
            <a:r>
              <a:rPr lang="nb-NO" dirty="0" err="1"/>
              <a:t>mill</a:t>
            </a:r>
            <a:r>
              <a:rPr lang="nb-NO" dirty="0"/>
              <a:t> tilbake til RHF</a:t>
            </a:r>
          </a:p>
          <a:p>
            <a:r>
              <a:rPr lang="nb-NO" dirty="0"/>
              <a:t>Flyttes 250 </a:t>
            </a:r>
            <a:r>
              <a:rPr lang="nb-NO" dirty="0" err="1"/>
              <a:t>mill</a:t>
            </a:r>
            <a:r>
              <a:rPr lang="nb-NO" dirty="0"/>
              <a:t> til kommunerammen</a:t>
            </a:r>
          </a:p>
          <a:p>
            <a:r>
              <a:rPr lang="nb-NO" dirty="0"/>
              <a:t>Apotek betaler 11%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C8A34EA8-9474-45DF-A52C-7DFC3C7FA7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735CFCE9-2AE8-456C-9A91-D8F42EF3D3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3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716093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18B25E3-C32D-4E90-A855-72443A41C0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136" y="351548"/>
            <a:ext cx="10784050" cy="836810"/>
          </a:xfrm>
        </p:spPr>
        <p:txBody>
          <a:bodyPr anchor="ctr">
            <a:normAutofit/>
          </a:bodyPr>
          <a:lstStyle/>
          <a:p>
            <a:r>
              <a:rPr lang="nb-NO" dirty="0"/>
              <a:t>Diskusjon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9D27827-56DC-4113-821D-EB2C9F71A5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986215" y="6534817"/>
            <a:ext cx="718095" cy="184666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 Side </a:t>
            </a:r>
            <a:fld id="{5751DFAA-887F-4071-8EAD-E8CA316FCF06}" type="slidenum">
              <a:rPr lang="nb-NO" smtClean="0"/>
              <a:pPr>
                <a:spcAft>
                  <a:spcPts val="600"/>
                </a:spcAft>
              </a:pPr>
              <a:t>34</a:t>
            </a:fld>
            <a:endParaRPr lang="nb-NO"/>
          </a:p>
        </p:txBody>
      </p:sp>
      <p:pic>
        <p:nvPicPr>
          <p:cNvPr id="7" name="Plassholder for innhold 6" descr="Et bilde som inneholder silhuetter&#10;&#10;Automatisk generert beskrivelse">
            <a:extLst>
              <a:ext uri="{FF2B5EF4-FFF2-40B4-BE49-F238E27FC236}">
                <a16:creationId xmlns:a16="http://schemas.microsoft.com/office/drawing/2014/main" id="{2D8351DE-0987-4C10-A884-463C1823D1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1193137" y="1818000"/>
            <a:ext cx="4329000" cy="4329000"/>
          </a:xfrm>
          <a:prstGeom prst="rect">
            <a:avLst/>
          </a:prstGeom>
          <a:noFill/>
        </p:spPr>
      </p:pic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6B47F357-0B4A-4F34-B155-4F359EC1E8E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29184" y="1818000"/>
            <a:ext cx="5275002" cy="4329000"/>
          </a:xfrm>
        </p:spPr>
        <p:txBody>
          <a:bodyPr>
            <a:normAutofit/>
          </a:bodyPr>
          <a:lstStyle/>
          <a:p>
            <a:pPr marL="558889" lvl="1" indent="-342900"/>
            <a:r>
              <a:rPr lang="nb-NO" sz="2800" dirty="0"/>
              <a:t>Refleksjonsrunde</a:t>
            </a:r>
          </a:p>
          <a:p>
            <a:pPr marL="558889" lvl="1" indent="-342900"/>
            <a:r>
              <a:rPr lang="nb-NO" sz="2800" dirty="0"/>
              <a:t>Spørsmål?</a:t>
            </a:r>
          </a:p>
          <a:p>
            <a:pPr marL="558889" lvl="1" indent="-342900"/>
            <a:endParaRPr lang="nb-NO" sz="2800" dirty="0"/>
          </a:p>
          <a:p>
            <a:pPr marL="558889" lvl="1" indent="-342900"/>
            <a:r>
              <a:rPr lang="nb-NO" sz="2800" dirty="0"/>
              <a:t>Målet med diskusjonen: Å produsere et omforent råd til HOD. Oppnås ikke enighet vil direktoratet anbefale HOD prinsipp B for 2021.</a:t>
            </a:r>
          </a:p>
        </p:txBody>
      </p:sp>
    </p:spTree>
    <p:extLst>
      <p:ext uri="{BB962C8B-B14F-4D97-AF65-F5344CB8AC3E}">
        <p14:creationId xmlns:p14="http://schemas.microsoft.com/office/powerpoint/2010/main" val="190600958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18B25E3-C32D-4E90-A855-72443A41C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iskusjonspunkter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9D27827-56DC-4113-821D-EB2C9F71A5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35</a:t>
            </a:fld>
            <a:endParaRPr lang="nb-NO" dirty="0"/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6B47F357-0B4A-4F34-B155-4F359EC1E8EF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b-NO" dirty="0"/>
              <a:t>Hva ligger i teknisk klart fra NHN (B)? </a:t>
            </a:r>
          </a:p>
          <a:p>
            <a:pPr lvl="1"/>
            <a:r>
              <a:rPr lang="nb-NO" dirty="0"/>
              <a:t>Behov for en omforent definisjon</a:t>
            </a:r>
          </a:p>
          <a:p>
            <a:pPr lvl="1"/>
            <a:endParaRPr lang="nb-NO" dirty="0"/>
          </a:p>
          <a:p>
            <a:r>
              <a:rPr lang="nb-NO" dirty="0"/>
              <a:t>Organisatorisk klart fra NHN (C) betyr 70/30 i 2022, men vil bevege seg mot 50/50 i 2024</a:t>
            </a:r>
          </a:p>
          <a:p>
            <a:endParaRPr lang="nb-NO" dirty="0"/>
          </a:p>
          <a:p>
            <a:r>
              <a:rPr lang="nb-NO" dirty="0"/>
              <a:t>Rettferdig fordeling et subjektivt kriterium</a:t>
            </a:r>
          </a:p>
          <a:p>
            <a:pPr marL="215989" lvl="1" indent="0">
              <a:buNone/>
            </a:pPr>
            <a:endParaRPr lang="nb-NO" dirty="0"/>
          </a:p>
        </p:txBody>
      </p:sp>
      <p:pic>
        <p:nvPicPr>
          <p:cNvPr id="14" name="Plassholder for innhold 6" descr="Et bilde som inneholder silhuetter&#10;&#10;Automatisk generert beskrivelse">
            <a:extLst>
              <a:ext uri="{FF2B5EF4-FFF2-40B4-BE49-F238E27FC236}">
                <a16:creationId xmlns:a16="http://schemas.microsoft.com/office/drawing/2014/main" id="{F9545AA2-9B8F-4711-B258-FA054DE239B3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6941028" y="1598707"/>
            <a:ext cx="4329112" cy="4329112"/>
          </a:xfrm>
          <a:prstGeom prst="rect">
            <a:avLst/>
          </a:prstGeom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0ED5BFB3-71D6-4017-83DA-BBD24704A779}"/>
              </a:ext>
            </a:extLst>
          </p:cNvPr>
          <p:cNvSpPr/>
          <p:nvPr/>
        </p:nvSpPr>
        <p:spPr>
          <a:xfrm>
            <a:off x="5995138" y="947956"/>
            <a:ext cx="2779746" cy="40099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Usikker om dette er de første </a:t>
            </a:r>
            <a:r>
              <a:rPr lang="nb-NO" dirty="0" err="1"/>
              <a:t>diskujsonspunktene</a:t>
            </a:r>
            <a:r>
              <a:rPr lang="nb-NO" dirty="0"/>
              <a:t> vil skal adressere? Vi må vel først invitere/åpne den «generelle» debatten om </a:t>
            </a:r>
            <a:r>
              <a:rPr lang="nb-NO" dirty="0" err="1"/>
              <a:t>forelingsprinsippene</a:t>
            </a:r>
            <a:r>
              <a:rPr lang="nb-NO" dirty="0"/>
              <a:t> – og under der kommer trolig behov for å konkretisere B og CF, og sikkert de </a:t>
            </a:r>
            <a:r>
              <a:rPr lang="nb-NO"/>
              <a:t>andre også…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246196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8"/>
          <p:cNvSpPr/>
          <p:nvPr/>
        </p:nvSpPr>
        <p:spPr>
          <a:xfrm>
            <a:off x="1405320" y="2028202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Budsjett og prognose 2020 og budsjett 2021</a:t>
            </a:r>
          </a:p>
        </p:txBody>
      </p:sp>
      <p:sp>
        <p:nvSpPr>
          <p:cNvPr id="12" name="Rektangel 9"/>
          <p:cNvSpPr/>
          <p:nvPr/>
        </p:nvSpPr>
        <p:spPr>
          <a:xfrm>
            <a:off x="720487" y="1475711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1</a:t>
            </a:r>
          </a:p>
        </p:txBody>
      </p:sp>
      <p:sp>
        <p:nvSpPr>
          <p:cNvPr id="13" name="Rektangel 10"/>
          <p:cNvSpPr/>
          <p:nvPr/>
        </p:nvSpPr>
        <p:spPr>
          <a:xfrm>
            <a:off x="720487" y="2028195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14" name="Rektangel 11"/>
          <p:cNvSpPr/>
          <p:nvPr/>
        </p:nvSpPr>
        <p:spPr>
          <a:xfrm>
            <a:off x="1405320" y="147571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Godkjenning av innkalling og dagsorden</a:t>
            </a:r>
          </a:p>
        </p:txBody>
      </p:sp>
      <p:sp>
        <p:nvSpPr>
          <p:cNvPr id="10" name="Rektangel 9"/>
          <p:cNvSpPr/>
          <p:nvPr/>
        </p:nvSpPr>
        <p:spPr>
          <a:xfrm>
            <a:off x="720487" y="258067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16" name="Rektangel 11"/>
          <p:cNvSpPr/>
          <p:nvPr/>
        </p:nvSpPr>
        <p:spPr>
          <a:xfrm>
            <a:off x="1405320" y="258068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Fordelingsprinsipper</a:t>
            </a:r>
          </a:p>
        </p:txBody>
      </p:sp>
      <p:sp>
        <p:nvSpPr>
          <p:cNvPr id="18" name="Rektangel 9"/>
          <p:cNvSpPr/>
          <p:nvPr/>
        </p:nvSpPr>
        <p:spPr>
          <a:xfrm>
            <a:off x="720487" y="3133163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20" name="Rektangel 11"/>
          <p:cNvSpPr/>
          <p:nvPr/>
        </p:nvSpPr>
        <p:spPr>
          <a:xfrm>
            <a:off x="1405320" y="3133172"/>
            <a:ext cx="5600879" cy="45434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 dirty="0">
                <a:solidFill>
                  <a:srgbClr val="281C2C"/>
                </a:solidFill>
              </a:rPr>
              <a:t>Veien videre og møtedato vår 2021</a:t>
            </a: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B6BF1538-ABED-44E5-98B9-A91841679744}"/>
              </a:ext>
            </a:extLst>
          </p:cNvPr>
          <p:cNvSpPr/>
          <p:nvPr/>
        </p:nvSpPr>
        <p:spPr>
          <a:xfrm>
            <a:off x="720487" y="368564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29" name="Rektangel 11">
            <a:extLst>
              <a:ext uri="{FF2B5EF4-FFF2-40B4-BE49-F238E27FC236}">
                <a16:creationId xmlns:a16="http://schemas.microsoft.com/office/drawing/2014/main" id="{ED46D673-65CF-444B-9D35-FE53ED2E72E9}"/>
              </a:ext>
            </a:extLst>
          </p:cNvPr>
          <p:cNvSpPr/>
          <p:nvPr/>
        </p:nvSpPr>
        <p:spPr>
          <a:xfrm>
            <a:off x="1405320" y="368565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>
                <a:solidFill>
                  <a:srgbClr val="281C2C"/>
                </a:solidFill>
              </a:rPr>
              <a:t>Eventuelt</a:t>
            </a:r>
            <a:endParaRPr lang="nb-NO" sz="1400" dirty="0">
              <a:solidFill>
                <a:srgbClr val="281C2C"/>
              </a:solidFill>
            </a:endParaRPr>
          </a:p>
        </p:txBody>
      </p:sp>
      <p:sp>
        <p:nvSpPr>
          <p:cNvPr id="24" name="Title 6">
            <a:extLst>
              <a:ext uri="{FF2B5EF4-FFF2-40B4-BE49-F238E27FC236}">
                <a16:creationId xmlns:a16="http://schemas.microsoft.com/office/drawing/2014/main" id="{9A96F8CF-FE07-4815-B667-B5F2E925F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50" y="214987"/>
            <a:ext cx="10783348" cy="836810"/>
          </a:xfrm>
        </p:spPr>
        <p:txBody>
          <a:bodyPr>
            <a:normAutofit/>
          </a:bodyPr>
          <a:lstStyle/>
          <a:p>
            <a:r>
              <a:rPr lang="en-US" dirty="0"/>
              <a:t>Agenda</a:t>
            </a:r>
          </a:p>
        </p:txBody>
      </p:sp>
      <p:pic>
        <p:nvPicPr>
          <p:cNvPr id="21" name="Plassholder for innhold 6">
            <a:extLst>
              <a:ext uri="{FF2B5EF4-FFF2-40B4-BE49-F238E27FC236}">
                <a16:creationId xmlns:a16="http://schemas.microsoft.com/office/drawing/2014/main" id="{ED9D26FF-986F-40A8-BD47-9A879CC651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31"/>
          <a:stretch/>
        </p:blipFill>
        <p:spPr>
          <a:xfrm>
            <a:off x="7627325" y="1475712"/>
            <a:ext cx="3255024" cy="372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8156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EC4C862-52CD-4EEA-8680-1688D424A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295" y="461906"/>
            <a:ext cx="10784050" cy="836810"/>
          </a:xfrm>
        </p:spPr>
        <p:txBody>
          <a:bodyPr/>
          <a:lstStyle/>
          <a:p>
            <a:r>
              <a:rPr lang="nb-NO" dirty="0"/>
              <a:t>Forslag til møte i Teknisk beregningsutvalg 23. september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86ACB3EA-0C85-40F5-AB1F-BCD896C088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17117" y="2030500"/>
            <a:ext cx="9182100" cy="3124200"/>
          </a:xfrm>
          <a:prstGeom prst="rect">
            <a:avLst/>
          </a:prstGeom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E864F5D-B5FF-4591-8DD3-F742DE3B71E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0368796" y="6534817"/>
            <a:ext cx="718095" cy="184666"/>
          </a:xfrm>
        </p:spPr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37</a:t>
            </a:fld>
            <a:endParaRPr lang="nb-NO" dirty="0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71F62E10-AF62-4645-807C-87E49887F1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292" y="2030500"/>
            <a:ext cx="1647825" cy="3114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2219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9F082E0-9422-47BF-9BE7-D793E24E64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orslag til møtedatoer i Teknisk beregningsutvalg 2021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383B470-362A-44E0-9A9B-1AA152DF26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25. mars (møte etter forankring i eget virksomhetsområde)</a:t>
            </a:r>
          </a:p>
          <a:p>
            <a:r>
              <a:rPr lang="nb-NO" dirty="0"/>
              <a:t>21. april (møte etter å ha gitt tilbakemelding på rapporten)</a:t>
            </a:r>
          </a:p>
          <a:p>
            <a:r>
              <a:rPr lang="nb-NO" dirty="0"/>
              <a:t>29. april (møte etter at innspill har blitt innarbeidet i rapporten)</a:t>
            </a:r>
          </a:p>
          <a:p>
            <a:endParaRPr lang="nb-NO" dirty="0"/>
          </a:p>
          <a:p>
            <a:r>
              <a:rPr lang="nb-NO" dirty="0"/>
              <a:t>2. september (møte etter forankring i eget virksomhetsområde)</a:t>
            </a:r>
          </a:p>
          <a:p>
            <a:r>
              <a:rPr lang="nb-NO" dirty="0"/>
              <a:t>22. september (møte etter å ha gitt tilbakemelding på rapporten)</a:t>
            </a:r>
          </a:p>
          <a:p>
            <a:r>
              <a:rPr lang="nb-NO" dirty="0"/>
              <a:t>30. september (møte etter at innspill har blitt innarbeidet i rapporten)</a:t>
            </a:r>
          </a:p>
          <a:p>
            <a:pPr marL="0" indent="0">
              <a:buNone/>
            </a:pPr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9CCC491-DBE6-4BD0-838B-16BB423D13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3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012587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8"/>
          <p:cNvSpPr/>
          <p:nvPr/>
        </p:nvSpPr>
        <p:spPr>
          <a:xfrm>
            <a:off x="1405320" y="2028202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Budsjett og prognose 2020 og budsjett 2021</a:t>
            </a:r>
          </a:p>
        </p:txBody>
      </p:sp>
      <p:sp>
        <p:nvSpPr>
          <p:cNvPr id="12" name="Rektangel 9"/>
          <p:cNvSpPr/>
          <p:nvPr/>
        </p:nvSpPr>
        <p:spPr>
          <a:xfrm>
            <a:off x="720487" y="1475711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1</a:t>
            </a:r>
          </a:p>
        </p:txBody>
      </p:sp>
      <p:sp>
        <p:nvSpPr>
          <p:cNvPr id="13" name="Rektangel 10"/>
          <p:cNvSpPr/>
          <p:nvPr/>
        </p:nvSpPr>
        <p:spPr>
          <a:xfrm>
            <a:off x="720487" y="2028195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14" name="Rektangel 11"/>
          <p:cNvSpPr/>
          <p:nvPr/>
        </p:nvSpPr>
        <p:spPr>
          <a:xfrm>
            <a:off x="1405320" y="147571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Godkjenning av innkalling og dagsorden</a:t>
            </a:r>
          </a:p>
        </p:txBody>
      </p:sp>
      <p:sp>
        <p:nvSpPr>
          <p:cNvPr id="10" name="Rektangel 9"/>
          <p:cNvSpPr/>
          <p:nvPr/>
        </p:nvSpPr>
        <p:spPr>
          <a:xfrm>
            <a:off x="720487" y="258067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16" name="Rektangel 11"/>
          <p:cNvSpPr/>
          <p:nvPr/>
        </p:nvSpPr>
        <p:spPr>
          <a:xfrm>
            <a:off x="1405320" y="258068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Fordelingsprinsipper</a:t>
            </a:r>
          </a:p>
        </p:txBody>
      </p:sp>
      <p:sp>
        <p:nvSpPr>
          <p:cNvPr id="18" name="Rektangel 9"/>
          <p:cNvSpPr/>
          <p:nvPr/>
        </p:nvSpPr>
        <p:spPr>
          <a:xfrm>
            <a:off x="720487" y="3133163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20" name="Rektangel 11"/>
          <p:cNvSpPr/>
          <p:nvPr/>
        </p:nvSpPr>
        <p:spPr>
          <a:xfrm>
            <a:off x="1405320" y="3133172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 dirty="0">
                <a:solidFill>
                  <a:srgbClr val="281C2C"/>
                </a:solidFill>
              </a:rPr>
              <a:t>Veien videre og møtedato vår 2021</a:t>
            </a: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B6BF1538-ABED-44E5-98B9-A91841679744}"/>
              </a:ext>
            </a:extLst>
          </p:cNvPr>
          <p:cNvSpPr/>
          <p:nvPr/>
        </p:nvSpPr>
        <p:spPr>
          <a:xfrm>
            <a:off x="720487" y="368564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29" name="Rektangel 11">
            <a:extLst>
              <a:ext uri="{FF2B5EF4-FFF2-40B4-BE49-F238E27FC236}">
                <a16:creationId xmlns:a16="http://schemas.microsoft.com/office/drawing/2014/main" id="{ED46D673-65CF-444B-9D35-FE53ED2E72E9}"/>
              </a:ext>
            </a:extLst>
          </p:cNvPr>
          <p:cNvSpPr/>
          <p:nvPr/>
        </p:nvSpPr>
        <p:spPr>
          <a:xfrm>
            <a:off x="1405320" y="3685657"/>
            <a:ext cx="5600879" cy="45434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>
                <a:solidFill>
                  <a:srgbClr val="281C2C"/>
                </a:solidFill>
              </a:rPr>
              <a:t>Eventuelt</a:t>
            </a:r>
            <a:endParaRPr lang="nb-NO" sz="1400" dirty="0">
              <a:solidFill>
                <a:srgbClr val="281C2C"/>
              </a:solidFill>
            </a:endParaRPr>
          </a:p>
        </p:txBody>
      </p:sp>
      <p:sp>
        <p:nvSpPr>
          <p:cNvPr id="24" name="Title 6">
            <a:extLst>
              <a:ext uri="{FF2B5EF4-FFF2-40B4-BE49-F238E27FC236}">
                <a16:creationId xmlns:a16="http://schemas.microsoft.com/office/drawing/2014/main" id="{9A96F8CF-FE07-4815-B667-B5F2E925F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50" y="214987"/>
            <a:ext cx="10783348" cy="836810"/>
          </a:xfrm>
        </p:spPr>
        <p:txBody>
          <a:bodyPr>
            <a:normAutofit/>
          </a:bodyPr>
          <a:lstStyle/>
          <a:p>
            <a:r>
              <a:rPr lang="en-US" dirty="0"/>
              <a:t>Agenda</a:t>
            </a:r>
          </a:p>
        </p:txBody>
      </p:sp>
      <p:pic>
        <p:nvPicPr>
          <p:cNvPr id="21" name="Plassholder for innhold 6">
            <a:extLst>
              <a:ext uri="{FF2B5EF4-FFF2-40B4-BE49-F238E27FC236}">
                <a16:creationId xmlns:a16="http://schemas.microsoft.com/office/drawing/2014/main" id="{ED9D26FF-986F-40A8-BD47-9A879CC651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31"/>
          <a:stretch/>
        </p:blipFill>
        <p:spPr>
          <a:xfrm>
            <a:off x="7627325" y="1475712"/>
            <a:ext cx="3255024" cy="372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499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8"/>
          <p:cNvSpPr/>
          <p:nvPr/>
        </p:nvSpPr>
        <p:spPr>
          <a:xfrm>
            <a:off x="1405320" y="2028202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Budsjett og prognose 2020 og budsjett 2021</a:t>
            </a:r>
          </a:p>
        </p:txBody>
      </p:sp>
      <p:sp>
        <p:nvSpPr>
          <p:cNvPr id="12" name="Rektangel 9"/>
          <p:cNvSpPr/>
          <p:nvPr/>
        </p:nvSpPr>
        <p:spPr>
          <a:xfrm>
            <a:off x="720487" y="1475711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1</a:t>
            </a:r>
          </a:p>
        </p:txBody>
      </p:sp>
      <p:sp>
        <p:nvSpPr>
          <p:cNvPr id="13" name="Rektangel 10"/>
          <p:cNvSpPr/>
          <p:nvPr/>
        </p:nvSpPr>
        <p:spPr>
          <a:xfrm>
            <a:off x="720487" y="2028195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14" name="Rektangel 11"/>
          <p:cNvSpPr/>
          <p:nvPr/>
        </p:nvSpPr>
        <p:spPr>
          <a:xfrm>
            <a:off x="1405320" y="1475717"/>
            <a:ext cx="5600879" cy="45434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Godkjenning av innkalling og dagsorden</a:t>
            </a:r>
          </a:p>
        </p:txBody>
      </p:sp>
      <p:sp>
        <p:nvSpPr>
          <p:cNvPr id="10" name="Rektangel 9"/>
          <p:cNvSpPr/>
          <p:nvPr/>
        </p:nvSpPr>
        <p:spPr>
          <a:xfrm>
            <a:off x="720487" y="258067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16" name="Rektangel 11"/>
          <p:cNvSpPr/>
          <p:nvPr/>
        </p:nvSpPr>
        <p:spPr>
          <a:xfrm>
            <a:off x="1405320" y="258068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Fordelingsprinsipper</a:t>
            </a:r>
          </a:p>
        </p:txBody>
      </p:sp>
      <p:sp>
        <p:nvSpPr>
          <p:cNvPr id="18" name="Rektangel 9"/>
          <p:cNvSpPr/>
          <p:nvPr/>
        </p:nvSpPr>
        <p:spPr>
          <a:xfrm>
            <a:off x="720487" y="3133163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20" name="Rektangel 11"/>
          <p:cNvSpPr/>
          <p:nvPr/>
        </p:nvSpPr>
        <p:spPr>
          <a:xfrm>
            <a:off x="1405320" y="3133172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 dirty="0">
                <a:solidFill>
                  <a:srgbClr val="281C2C"/>
                </a:solidFill>
              </a:rPr>
              <a:t>Veien videre og møtedato vår 2021</a:t>
            </a: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B6BF1538-ABED-44E5-98B9-A91841679744}"/>
              </a:ext>
            </a:extLst>
          </p:cNvPr>
          <p:cNvSpPr/>
          <p:nvPr/>
        </p:nvSpPr>
        <p:spPr>
          <a:xfrm>
            <a:off x="720487" y="368564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29" name="Rektangel 11">
            <a:extLst>
              <a:ext uri="{FF2B5EF4-FFF2-40B4-BE49-F238E27FC236}">
                <a16:creationId xmlns:a16="http://schemas.microsoft.com/office/drawing/2014/main" id="{ED46D673-65CF-444B-9D35-FE53ED2E72E9}"/>
              </a:ext>
            </a:extLst>
          </p:cNvPr>
          <p:cNvSpPr/>
          <p:nvPr/>
        </p:nvSpPr>
        <p:spPr>
          <a:xfrm>
            <a:off x="1405320" y="368565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>
                <a:solidFill>
                  <a:srgbClr val="281C2C"/>
                </a:solidFill>
              </a:rPr>
              <a:t>Eventuelt</a:t>
            </a:r>
            <a:endParaRPr lang="nb-NO" sz="1400" dirty="0">
              <a:solidFill>
                <a:srgbClr val="281C2C"/>
              </a:solidFill>
            </a:endParaRPr>
          </a:p>
        </p:txBody>
      </p:sp>
      <p:sp>
        <p:nvSpPr>
          <p:cNvPr id="24" name="Title 6">
            <a:extLst>
              <a:ext uri="{FF2B5EF4-FFF2-40B4-BE49-F238E27FC236}">
                <a16:creationId xmlns:a16="http://schemas.microsoft.com/office/drawing/2014/main" id="{9A96F8CF-FE07-4815-B667-B5F2E925F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50" y="214987"/>
            <a:ext cx="10783348" cy="836810"/>
          </a:xfrm>
        </p:spPr>
        <p:txBody>
          <a:bodyPr>
            <a:normAutofit/>
          </a:bodyPr>
          <a:lstStyle/>
          <a:p>
            <a:r>
              <a:rPr lang="en-US" dirty="0"/>
              <a:t>Agenda</a:t>
            </a:r>
          </a:p>
        </p:txBody>
      </p:sp>
      <p:pic>
        <p:nvPicPr>
          <p:cNvPr id="21" name="Plassholder for innhold 6">
            <a:extLst>
              <a:ext uri="{FF2B5EF4-FFF2-40B4-BE49-F238E27FC236}">
                <a16:creationId xmlns:a16="http://schemas.microsoft.com/office/drawing/2014/main" id="{ED9D26FF-986F-40A8-BD47-9A879CC651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31"/>
          <a:stretch/>
        </p:blipFill>
        <p:spPr>
          <a:xfrm>
            <a:off x="7627325" y="1475712"/>
            <a:ext cx="3255024" cy="372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4512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292D8ADF-128E-4877-A0F1-04CA5738E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868" y="266250"/>
            <a:ext cx="10676769" cy="921003"/>
          </a:xfrm>
        </p:spPr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Et overblikk over TBU-arbeidet i høst – og frem mot 2022</a:t>
            </a:r>
            <a:endParaRPr lang="nb-NO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40F3916-70A0-403C-92D2-BDE83674D3D2}"/>
              </a:ext>
            </a:extLst>
          </p:cNvPr>
          <p:cNvSpPr txBox="1">
            <a:spLocks/>
          </p:cNvSpPr>
          <p:nvPr/>
        </p:nvSpPr>
        <p:spPr>
          <a:xfrm>
            <a:off x="606796" y="549445"/>
            <a:ext cx="11079257" cy="719996"/>
          </a:xfrm>
          <a:prstGeom prst="rect">
            <a:avLst/>
          </a:prstGeom>
        </p:spPr>
        <p:txBody>
          <a:bodyPr spcFirstLastPara="1" vert="horz" wrap="square" lIns="0" tIns="0" rIns="0" bIns="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 cap="all" baseline="0">
                <a:solidFill>
                  <a:srgbClr val="2C3845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pPr defTabSz="914310"/>
            <a:endParaRPr lang="nb-NO" sz="2450" dirty="0">
              <a:solidFill>
                <a:srgbClr val="E5E8E8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6" name="Rektangel 63">
            <a:extLst>
              <a:ext uri="{FF2B5EF4-FFF2-40B4-BE49-F238E27FC236}">
                <a16:creationId xmlns:a16="http://schemas.microsoft.com/office/drawing/2014/main" id="{086966AF-41F8-44D9-887C-0D2C3BCD56AB}"/>
              </a:ext>
            </a:extLst>
          </p:cNvPr>
          <p:cNvSpPr/>
          <p:nvPr/>
        </p:nvSpPr>
        <p:spPr>
          <a:xfrm>
            <a:off x="1755041" y="1878727"/>
            <a:ext cx="6555562" cy="4222491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 defTabSz="914265">
              <a:defRPr/>
            </a:pPr>
            <a:endParaRPr lang="nb-NO" sz="1400" dirty="0">
              <a:solidFill>
                <a:srgbClr val="2C3845"/>
              </a:solidFill>
              <a:latin typeface="Arial" panose="020B0604020202020204"/>
            </a:endParaRPr>
          </a:p>
        </p:txBody>
      </p:sp>
      <p:sp>
        <p:nvSpPr>
          <p:cNvPr id="8" name="Rektangel 5">
            <a:extLst>
              <a:ext uri="{FF2B5EF4-FFF2-40B4-BE49-F238E27FC236}">
                <a16:creationId xmlns:a16="http://schemas.microsoft.com/office/drawing/2014/main" id="{D28A1943-5942-4369-B677-3656B6FFC846}"/>
              </a:ext>
            </a:extLst>
          </p:cNvPr>
          <p:cNvSpPr/>
          <p:nvPr/>
        </p:nvSpPr>
        <p:spPr>
          <a:xfrm>
            <a:off x="1763829" y="1583276"/>
            <a:ext cx="1095415" cy="251412"/>
          </a:xfrm>
          <a:prstGeom prst="rect">
            <a:avLst/>
          </a:prstGeom>
          <a:solidFill>
            <a:srgbClr val="C8E1F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800" dirty="0" err="1">
                <a:solidFill>
                  <a:srgbClr val="2C3845"/>
                </a:solidFill>
                <a:latin typeface="Arial" panose="020B0604020202020204"/>
              </a:rPr>
              <a:t>Aug</a:t>
            </a:r>
            <a:endParaRPr lang="nb-NO" sz="800" dirty="0">
              <a:solidFill>
                <a:srgbClr val="2C3845"/>
              </a:solidFill>
              <a:latin typeface="Arial" panose="020B0604020202020204"/>
            </a:endParaRPr>
          </a:p>
        </p:txBody>
      </p:sp>
      <p:sp>
        <p:nvSpPr>
          <p:cNvPr id="13" name="Rektangel 33">
            <a:extLst>
              <a:ext uri="{FF2B5EF4-FFF2-40B4-BE49-F238E27FC236}">
                <a16:creationId xmlns:a16="http://schemas.microsoft.com/office/drawing/2014/main" id="{943E069A-2AEE-459F-B744-68CBD280E9A2}"/>
              </a:ext>
            </a:extLst>
          </p:cNvPr>
          <p:cNvSpPr/>
          <p:nvPr/>
        </p:nvSpPr>
        <p:spPr>
          <a:xfrm>
            <a:off x="4031387" y="1583276"/>
            <a:ext cx="1086001" cy="251412"/>
          </a:xfrm>
          <a:prstGeom prst="rect">
            <a:avLst/>
          </a:prstGeom>
          <a:solidFill>
            <a:srgbClr val="C8E1F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800" dirty="0" err="1">
                <a:solidFill>
                  <a:srgbClr val="2C3845"/>
                </a:solidFill>
                <a:latin typeface="Arial" panose="020B0604020202020204"/>
              </a:rPr>
              <a:t>Okt</a:t>
            </a:r>
            <a:endParaRPr lang="nb-NO" sz="800" dirty="0">
              <a:solidFill>
                <a:srgbClr val="2C3845"/>
              </a:solidFill>
              <a:latin typeface="Arial" panose="020B0604020202020204"/>
            </a:endParaRPr>
          </a:p>
        </p:txBody>
      </p:sp>
      <p:sp>
        <p:nvSpPr>
          <p:cNvPr id="14" name="Rektangel 35">
            <a:extLst>
              <a:ext uri="{FF2B5EF4-FFF2-40B4-BE49-F238E27FC236}">
                <a16:creationId xmlns:a16="http://schemas.microsoft.com/office/drawing/2014/main" id="{EE47F10E-6077-4251-A3D8-8A60485656F0}"/>
              </a:ext>
            </a:extLst>
          </p:cNvPr>
          <p:cNvSpPr/>
          <p:nvPr/>
        </p:nvSpPr>
        <p:spPr>
          <a:xfrm>
            <a:off x="5167855" y="1576532"/>
            <a:ext cx="993227" cy="251412"/>
          </a:xfrm>
          <a:prstGeom prst="rect">
            <a:avLst/>
          </a:prstGeom>
          <a:solidFill>
            <a:srgbClr val="C8E1F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800" dirty="0">
                <a:solidFill>
                  <a:srgbClr val="2C3845"/>
                </a:solidFill>
                <a:latin typeface="Arial" panose="020B0604020202020204"/>
              </a:rPr>
              <a:t>Nov</a:t>
            </a:r>
          </a:p>
        </p:txBody>
      </p:sp>
      <p:sp>
        <p:nvSpPr>
          <p:cNvPr id="15" name="Rektangel 40">
            <a:extLst>
              <a:ext uri="{FF2B5EF4-FFF2-40B4-BE49-F238E27FC236}">
                <a16:creationId xmlns:a16="http://schemas.microsoft.com/office/drawing/2014/main" id="{4BE3D4DD-A614-4CFD-B93E-C3895E0A2BCD}"/>
              </a:ext>
            </a:extLst>
          </p:cNvPr>
          <p:cNvSpPr/>
          <p:nvPr/>
        </p:nvSpPr>
        <p:spPr>
          <a:xfrm>
            <a:off x="1763829" y="1273248"/>
            <a:ext cx="5440948" cy="251412"/>
          </a:xfrm>
          <a:prstGeom prst="rect">
            <a:avLst/>
          </a:prstGeom>
          <a:solidFill>
            <a:srgbClr val="C8E1F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1200" dirty="0">
                <a:solidFill>
                  <a:srgbClr val="2C3845"/>
                </a:solidFill>
                <a:latin typeface="Arial" panose="020B0604020202020204"/>
              </a:rPr>
              <a:t>2020</a:t>
            </a:r>
          </a:p>
        </p:txBody>
      </p:sp>
      <p:sp>
        <p:nvSpPr>
          <p:cNvPr id="16" name="Rektangel 6">
            <a:extLst>
              <a:ext uri="{FF2B5EF4-FFF2-40B4-BE49-F238E27FC236}">
                <a16:creationId xmlns:a16="http://schemas.microsoft.com/office/drawing/2014/main" id="{0895F731-8023-415A-8074-3D9667E042E7}"/>
              </a:ext>
            </a:extLst>
          </p:cNvPr>
          <p:cNvSpPr/>
          <p:nvPr/>
        </p:nvSpPr>
        <p:spPr>
          <a:xfrm>
            <a:off x="2902315" y="1583276"/>
            <a:ext cx="1086001" cy="251412"/>
          </a:xfrm>
          <a:prstGeom prst="rect">
            <a:avLst/>
          </a:prstGeom>
          <a:solidFill>
            <a:srgbClr val="C8E1F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800" dirty="0" err="1">
                <a:solidFill>
                  <a:srgbClr val="2C3845"/>
                </a:solidFill>
                <a:latin typeface="Arial" panose="020B0604020202020204"/>
              </a:rPr>
              <a:t>Sept</a:t>
            </a:r>
            <a:endParaRPr lang="nb-NO" sz="800" dirty="0">
              <a:solidFill>
                <a:srgbClr val="2C3845"/>
              </a:solidFill>
              <a:latin typeface="Arial" panose="020B0604020202020204"/>
            </a:endParaRPr>
          </a:p>
        </p:txBody>
      </p:sp>
      <p:sp>
        <p:nvSpPr>
          <p:cNvPr id="17" name="Rektangel 35">
            <a:extLst>
              <a:ext uri="{FF2B5EF4-FFF2-40B4-BE49-F238E27FC236}">
                <a16:creationId xmlns:a16="http://schemas.microsoft.com/office/drawing/2014/main" id="{4F026090-76B9-4FF2-9012-55F9B91CB474}"/>
              </a:ext>
            </a:extLst>
          </p:cNvPr>
          <p:cNvSpPr/>
          <p:nvPr/>
        </p:nvSpPr>
        <p:spPr>
          <a:xfrm>
            <a:off x="6211550" y="1576532"/>
            <a:ext cx="993227" cy="251412"/>
          </a:xfrm>
          <a:prstGeom prst="rect">
            <a:avLst/>
          </a:prstGeom>
          <a:solidFill>
            <a:srgbClr val="C8E1F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800" dirty="0">
                <a:solidFill>
                  <a:srgbClr val="2C3845"/>
                </a:solidFill>
                <a:latin typeface="Arial" panose="020B0604020202020204"/>
              </a:rPr>
              <a:t>Des</a:t>
            </a:r>
          </a:p>
        </p:txBody>
      </p:sp>
      <p:cxnSp>
        <p:nvCxnSpPr>
          <p:cNvPr id="21" name="Rett linje 20">
            <a:extLst>
              <a:ext uri="{FF2B5EF4-FFF2-40B4-BE49-F238E27FC236}">
                <a16:creationId xmlns:a16="http://schemas.microsoft.com/office/drawing/2014/main" id="{55167819-28C2-4AF8-98AF-1EE1CD4F6726}"/>
              </a:ext>
            </a:extLst>
          </p:cNvPr>
          <p:cNvCxnSpPr>
            <a:cxnSpLocks/>
          </p:cNvCxnSpPr>
          <p:nvPr/>
        </p:nvCxnSpPr>
        <p:spPr>
          <a:xfrm>
            <a:off x="1755042" y="1906451"/>
            <a:ext cx="0" cy="422249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7742C719-AAD9-4EBA-99ED-EA3CDDBD8D88}"/>
              </a:ext>
            </a:extLst>
          </p:cNvPr>
          <p:cNvCxnSpPr>
            <a:cxnSpLocks/>
          </p:cNvCxnSpPr>
          <p:nvPr/>
        </p:nvCxnSpPr>
        <p:spPr>
          <a:xfrm>
            <a:off x="2872157" y="1906451"/>
            <a:ext cx="0" cy="422249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Rett linje 22">
            <a:extLst>
              <a:ext uri="{FF2B5EF4-FFF2-40B4-BE49-F238E27FC236}">
                <a16:creationId xmlns:a16="http://schemas.microsoft.com/office/drawing/2014/main" id="{8D4C3553-4357-4853-B880-9E9751AA0661}"/>
              </a:ext>
            </a:extLst>
          </p:cNvPr>
          <p:cNvCxnSpPr>
            <a:cxnSpLocks/>
          </p:cNvCxnSpPr>
          <p:nvPr/>
        </p:nvCxnSpPr>
        <p:spPr>
          <a:xfrm>
            <a:off x="3989273" y="1906451"/>
            <a:ext cx="0" cy="422249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Rett linje 23">
            <a:extLst>
              <a:ext uri="{FF2B5EF4-FFF2-40B4-BE49-F238E27FC236}">
                <a16:creationId xmlns:a16="http://schemas.microsoft.com/office/drawing/2014/main" id="{7C2E2614-776D-4BFB-BD31-51CFE7BE5D89}"/>
              </a:ext>
            </a:extLst>
          </p:cNvPr>
          <p:cNvCxnSpPr>
            <a:cxnSpLocks/>
          </p:cNvCxnSpPr>
          <p:nvPr/>
        </p:nvCxnSpPr>
        <p:spPr>
          <a:xfrm>
            <a:off x="5137380" y="1906451"/>
            <a:ext cx="0" cy="422249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Rett linje 24">
            <a:extLst>
              <a:ext uri="{FF2B5EF4-FFF2-40B4-BE49-F238E27FC236}">
                <a16:creationId xmlns:a16="http://schemas.microsoft.com/office/drawing/2014/main" id="{55A9A428-C92B-4AC8-A1CB-A2B5F3D95EE9}"/>
              </a:ext>
            </a:extLst>
          </p:cNvPr>
          <p:cNvCxnSpPr>
            <a:cxnSpLocks/>
          </p:cNvCxnSpPr>
          <p:nvPr/>
        </p:nvCxnSpPr>
        <p:spPr>
          <a:xfrm>
            <a:off x="6223504" y="1906451"/>
            <a:ext cx="0" cy="422249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Rett linje 25">
            <a:extLst>
              <a:ext uri="{FF2B5EF4-FFF2-40B4-BE49-F238E27FC236}">
                <a16:creationId xmlns:a16="http://schemas.microsoft.com/office/drawing/2014/main" id="{1829956A-1888-49FB-993A-755D39C4FD57}"/>
              </a:ext>
            </a:extLst>
          </p:cNvPr>
          <p:cNvCxnSpPr>
            <a:cxnSpLocks/>
          </p:cNvCxnSpPr>
          <p:nvPr/>
        </p:nvCxnSpPr>
        <p:spPr>
          <a:xfrm>
            <a:off x="7242012" y="1906451"/>
            <a:ext cx="0" cy="422249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Femkant 63">
            <a:extLst>
              <a:ext uri="{FF2B5EF4-FFF2-40B4-BE49-F238E27FC236}">
                <a16:creationId xmlns:a16="http://schemas.microsoft.com/office/drawing/2014/main" id="{8BF6DCB0-313B-40F1-9329-C0C96D4BB1CD}"/>
              </a:ext>
            </a:extLst>
          </p:cNvPr>
          <p:cNvSpPr/>
          <p:nvPr/>
        </p:nvSpPr>
        <p:spPr>
          <a:xfrm>
            <a:off x="1838908" y="4444115"/>
            <a:ext cx="2814103" cy="938293"/>
          </a:xfrm>
          <a:prstGeom prst="homePlate">
            <a:avLst>
              <a:gd name="adj" fmla="val 26596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r>
              <a:rPr lang="nb-NO" sz="900" b="1" dirty="0">
                <a:solidFill>
                  <a:srgbClr val="FFFFFF"/>
                </a:solidFill>
                <a:latin typeface="Arial" panose="020B0604020202020204"/>
              </a:rPr>
              <a:t>TBU-arbeidet</a:t>
            </a: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1" name="Rektangel 35">
            <a:extLst>
              <a:ext uri="{FF2B5EF4-FFF2-40B4-BE49-F238E27FC236}">
                <a16:creationId xmlns:a16="http://schemas.microsoft.com/office/drawing/2014/main" id="{EF948AD5-3C84-4109-9327-CE31F2F82967}"/>
              </a:ext>
            </a:extLst>
          </p:cNvPr>
          <p:cNvSpPr/>
          <p:nvPr/>
        </p:nvSpPr>
        <p:spPr>
          <a:xfrm>
            <a:off x="7247641" y="1575987"/>
            <a:ext cx="1062966" cy="251412"/>
          </a:xfrm>
          <a:prstGeom prst="rect">
            <a:avLst/>
          </a:prstGeom>
          <a:solidFill>
            <a:srgbClr val="C8E1F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800" dirty="0">
                <a:solidFill>
                  <a:srgbClr val="2C3845"/>
                </a:solidFill>
                <a:latin typeface="Arial" panose="020B0604020202020204"/>
              </a:rPr>
              <a:t>Jan</a:t>
            </a:r>
          </a:p>
        </p:txBody>
      </p:sp>
      <p:cxnSp>
        <p:nvCxnSpPr>
          <p:cNvPr id="58" name="Rett linje 57">
            <a:extLst>
              <a:ext uri="{FF2B5EF4-FFF2-40B4-BE49-F238E27FC236}">
                <a16:creationId xmlns:a16="http://schemas.microsoft.com/office/drawing/2014/main" id="{4E00323F-BF02-4DED-B41E-82AE9522FAB5}"/>
              </a:ext>
            </a:extLst>
          </p:cNvPr>
          <p:cNvCxnSpPr>
            <a:cxnSpLocks/>
          </p:cNvCxnSpPr>
          <p:nvPr/>
        </p:nvCxnSpPr>
        <p:spPr>
          <a:xfrm>
            <a:off x="1671175" y="1300972"/>
            <a:ext cx="0" cy="4827971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66" name="Rektangel 40">
            <a:extLst>
              <a:ext uri="{FF2B5EF4-FFF2-40B4-BE49-F238E27FC236}">
                <a16:creationId xmlns:a16="http://schemas.microsoft.com/office/drawing/2014/main" id="{A0797963-E9F2-49C9-9DC8-4A8B7E344428}"/>
              </a:ext>
            </a:extLst>
          </p:cNvPr>
          <p:cNvSpPr/>
          <p:nvPr/>
        </p:nvSpPr>
        <p:spPr>
          <a:xfrm>
            <a:off x="7247641" y="1269441"/>
            <a:ext cx="1062962" cy="251412"/>
          </a:xfrm>
          <a:prstGeom prst="rect">
            <a:avLst/>
          </a:prstGeom>
          <a:solidFill>
            <a:srgbClr val="C8E1F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1200" dirty="0">
                <a:solidFill>
                  <a:srgbClr val="2C3845"/>
                </a:solidFill>
                <a:latin typeface="Arial" panose="020B0604020202020204"/>
              </a:rPr>
              <a:t>2021</a:t>
            </a:r>
          </a:p>
        </p:txBody>
      </p:sp>
      <p:sp>
        <p:nvSpPr>
          <p:cNvPr id="69" name="Rektangel 35">
            <a:extLst>
              <a:ext uri="{FF2B5EF4-FFF2-40B4-BE49-F238E27FC236}">
                <a16:creationId xmlns:a16="http://schemas.microsoft.com/office/drawing/2014/main" id="{5C683FD7-08E6-4A31-85C1-070A3814DF32}"/>
              </a:ext>
            </a:extLst>
          </p:cNvPr>
          <p:cNvSpPr/>
          <p:nvPr/>
        </p:nvSpPr>
        <p:spPr>
          <a:xfrm>
            <a:off x="8658463" y="1579877"/>
            <a:ext cx="1062966" cy="251412"/>
          </a:xfrm>
          <a:prstGeom prst="rect">
            <a:avLst/>
          </a:prstGeom>
          <a:solidFill>
            <a:srgbClr val="C8E1F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800" dirty="0">
                <a:solidFill>
                  <a:srgbClr val="2C3845"/>
                </a:solidFill>
                <a:latin typeface="Arial" panose="020B0604020202020204"/>
              </a:rPr>
              <a:t>Jan</a:t>
            </a:r>
          </a:p>
        </p:txBody>
      </p:sp>
      <p:sp>
        <p:nvSpPr>
          <p:cNvPr id="70" name="Rektangel 40">
            <a:extLst>
              <a:ext uri="{FF2B5EF4-FFF2-40B4-BE49-F238E27FC236}">
                <a16:creationId xmlns:a16="http://schemas.microsoft.com/office/drawing/2014/main" id="{6EC8EE8A-B705-4080-802A-797A3DF7AA9F}"/>
              </a:ext>
            </a:extLst>
          </p:cNvPr>
          <p:cNvSpPr/>
          <p:nvPr/>
        </p:nvSpPr>
        <p:spPr>
          <a:xfrm>
            <a:off x="8658463" y="1273332"/>
            <a:ext cx="1062962" cy="251412"/>
          </a:xfrm>
          <a:prstGeom prst="rect">
            <a:avLst/>
          </a:prstGeom>
          <a:solidFill>
            <a:srgbClr val="C8E1FF"/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1200" dirty="0">
                <a:solidFill>
                  <a:srgbClr val="2C3845"/>
                </a:solidFill>
                <a:latin typeface="Arial" panose="020B0604020202020204"/>
              </a:rPr>
              <a:t>2022</a:t>
            </a:r>
          </a:p>
        </p:txBody>
      </p:sp>
      <p:sp>
        <p:nvSpPr>
          <p:cNvPr id="71" name="Rektangel 63">
            <a:extLst>
              <a:ext uri="{FF2B5EF4-FFF2-40B4-BE49-F238E27FC236}">
                <a16:creationId xmlns:a16="http://schemas.microsoft.com/office/drawing/2014/main" id="{5FC3951D-1256-48FF-8D53-EFD0E680AE17}"/>
              </a:ext>
            </a:extLst>
          </p:cNvPr>
          <p:cNvSpPr/>
          <p:nvPr/>
        </p:nvSpPr>
        <p:spPr>
          <a:xfrm>
            <a:off x="8659923" y="1886423"/>
            <a:ext cx="1061501" cy="4222491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algn="ctr" defTabSz="914265">
              <a:defRPr/>
            </a:pPr>
            <a:endParaRPr lang="nb-NO" sz="1400" dirty="0">
              <a:solidFill>
                <a:srgbClr val="2C3845"/>
              </a:solidFill>
              <a:latin typeface="Arial" panose="020B0604020202020204"/>
            </a:endParaRPr>
          </a:p>
        </p:txBody>
      </p:sp>
      <p:sp>
        <p:nvSpPr>
          <p:cNvPr id="72" name="TekstSylinder 71">
            <a:extLst>
              <a:ext uri="{FF2B5EF4-FFF2-40B4-BE49-F238E27FC236}">
                <a16:creationId xmlns:a16="http://schemas.microsoft.com/office/drawing/2014/main" id="{83579224-978A-4B8A-848A-07109108C140}"/>
              </a:ext>
            </a:extLst>
          </p:cNvPr>
          <p:cNvSpPr txBox="1"/>
          <p:nvPr/>
        </p:nvSpPr>
        <p:spPr>
          <a:xfrm>
            <a:off x="2446947" y="4204427"/>
            <a:ext cx="452368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TBU2</a:t>
            </a:r>
          </a:p>
        </p:txBody>
      </p:sp>
      <p:sp>
        <p:nvSpPr>
          <p:cNvPr id="73" name="Beslutning 72">
            <a:extLst>
              <a:ext uri="{FF2B5EF4-FFF2-40B4-BE49-F238E27FC236}">
                <a16:creationId xmlns:a16="http://schemas.microsoft.com/office/drawing/2014/main" id="{205562D8-AB0F-4FA3-A522-19F18D706D91}"/>
              </a:ext>
            </a:extLst>
          </p:cNvPr>
          <p:cNvSpPr/>
          <p:nvPr/>
        </p:nvSpPr>
        <p:spPr>
          <a:xfrm>
            <a:off x="2917565" y="4161543"/>
            <a:ext cx="234448" cy="255027"/>
          </a:xfrm>
          <a:prstGeom prst="flowChartDecision">
            <a:avLst/>
          </a:prstGeom>
          <a:solidFill>
            <a:srgbClr val="F7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4" name="TekstSylinder 73">
            <a:extLst>
              <a:ext uri="{FF2B5EF4-FFF2-40B4-BE49-F238E27FC236}">
                <a16:creationId xmlns:a16="http://schemas.microsoft.com/office/drawing/2014/main" id="{EFE18157-F507-406C-86DE-2A2F4D504EB1}"/>
              </a:ext>
            </a:extLst>
          </p:cNvPr>
          <p:cNvSpPr txBox="1"/>
          <p:nvPr/>
        </p:nvSpPr>
        <p:spPr>
          <a:xfrm>
            <a:off x="3175591" y="4204427"/>
            <a:ext cx="444352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03.09</a:t>
            </a:r>
          </a:p>
        </p:txBody>
      </p:sp>
      <p:sp>
        <p:nvSpPr>
          <p:cNvPr id="75" name="TekstSylinder 74">
            <a:extLst>
              <a:ext uri="{FF2B5EF4-FFF2-40B4-BE49-F238E27FC236}">
                <a16:creationId xmlns:a16="http://schemas.microsoft.com/office/drawing/2014/main" id="{C42CB63A-7299-4A67-BD51-BD30CD5506AD}"/>
              </a:ext>
            </a:extLst>
          </p:cNvPr>
          <p:cNvSpPr txBox="1"/>
          <p:nvPr/>
        </p:nvSpPr>
        <p:spPr>
          <a:xfrm>
            <a:off x="3814065" y="4217875"/>
            <a:ext cx="452368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TBU3</a:t>
            </a:r>
          </a:p>
        </p:txBody>
      </p:sp>
      <p:sp>
        <p:nvSpPr>
          <p:cNvPr id="76" name="Beslutning 75">
            <a:extLst>
              <a:ext uri="{FF2B5EF4-FFF2-40B4-BE49-F238E27FC236}">
                <a16:creationId xmlns:a16="http://schemas.microsoft.com/office/drawing/2014/main" id="{5F6B9DC2-344E-485D-A07E-73627A98C15A}"/>
              </a:ext>
            </a:extLst>
          </p:cNvPr>
          <p:cNvSpPr/>
          <p:nvPr/>
        </p:nvSpPr>
        <p:spPr>
          <a:xfrm>
            <a:off x="4284683" y="4174992"/>
            <a:ext cx="234448" cy="255027"/>
          </a:xfrm>
          <a:prstGeom prst="flowChartDecision">
            <a:avLst/>
          </a:prstGeom>
          <a:solidFill>
            <a:srgbClr val="F7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7" name="TekstSylinder 76">
            <a:extLst>
              <a:ext uri="{FF2B5EF4-FFF2-40B4-BE49-F238E27FC236}">
                <a16:creationId xmlns:a16="http://schemas.microsoft.com/office/drawing/2014/main" id="{0873BA9D-9B8B-42ED-9E45-7059FA024AA9}"/>
              </a:ext>
            </a:extLst>
          </p:cNvPr>
          <p:cNvSpPr txBox="1"/>
          <p:nvPr/>
        </p:nvSpPr>
        <p:spPr>
          <a:xfrm>
            <a:off x="4542709" y="4217875"/>
            <a:ext cx="444352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13.10</a:t>
            </a:r>
          </a:p>
        </p:txBody>
      </p:sp>
      <p:sp>
        <p:nvSpPr>
          <p:cNvPr id="78" name="TekstSylinder 77">
            <a:extLst>
              <a:ext uri="{FF2B5EF4-FFF2-40B4-BE49-F238E27FC236}">
                <a16:creationId xmlns:a16="http://schemas.microsoft.com/office/drawing/2014/main" id="{0F96986F-2A11-46E1-8E8A-DED8E92A92B2}"/>
              </a:ext>
            </a:extLst>
          </p:cNvPr>
          <p:cNvSpPr txBox="1"/>
          <p:nvPr/>
        </p:nvSpPr>
        <p:spPr>
          <a:xfrm>
            <a:off x="4635769" y="5150284"/>
            <a:ext cx="696024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Leveranse</a:t>
            </a:r>
          </a:p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HOD</a:t>
            </a:r>
          </a:p>
        </p:txBody>
      </p:sp>
      <p:sp>
        <p:nvSpPr>
          <p:cNvPr id="79" name="Beslutning 78">
            <a:extLst>
              <a:ext uri="{FF2B5EF4-FFF2-40B4-BE49-F238E27FC236}">
                <a16:creationId xmlns:a16="http://schemas.microsoft.com/office/drawing/2014/main" id="{937ADA2C-3947-4499-9F8E-64C2EED3717C}"/>
              </a:ext>
            </a:extLst>
          </p:cNvPr>
          <p:cNvSpPr/>
          <p:nvPr/>
        </p:nvSpPr>
        <p:spPr>
          <a:xfrm>
            <a:off x="4508943" y="4882637"/>
            <a:ext cx="234448" cy="255027"/>
          </a:xfrm>
          <a:prstGeom prst="flowChartDecision">
            <a:avLst/>
          </a:prstGeom>
          <a:solidFill>
            <a:srgbClr val="F7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0" name="TekstSylinder 79">
            <a:extLst>
              <a:ext uri="{FF2B5EF4-FFF2-40B4-BE49-F238E27FC236}">
                <a16:creationId xmlns:a16="http://schemas.microsoft.com/office/drawing/2014/main" id="{BDD5B22F-C6FA-4F47-AE3D-C9209E3AF2E2}"/>
              </a:ext>
            </a:extLst>
          </p:cNvPr>
          <p:cNvSpPr txBox="1"/>
          <p:nvPr/>
        </p:nvSpPr>
        <p:spPr>
          <a:xfrm>
            <a:off x="4766969" y="4925521"/>
            <a:ext cx="444352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15.10</a:t>
            </a:r>
          </a:p>
        </p:txBody>
      </p:sp>
      <p:sp>
        <p:nvSpPr>
          <p:cNvPr id="81" name="Femkant 65">
            <a:extLst>
              <a:ext uri="{FF2B5EF4-FFF2-40B4-BE49-F238E27FC236}">
                <a16:creationId xmlns:a16="http://schemas.microsoft.com/office/drawing/2014/main" id="{DEB3C832-0936-4C4B-85AA-32870D46DB18}"/>
              </a:ext>
            </a:extLst>
          </p:cNvPr>
          <p:cNvSpPr/>
          <p:nvPr/>
        </p:nvSpPr>
        <p:spPr>
          <a:xfrm>
            <a:off x="1937745" y="4633145"/>
            <a:ext cx="2443956" cy="249492"/>
          </a:xfrm>
          <a:prstGeom prst="homePlate">
            <a:avLst>
              <a:gd name="adj" fmla="val 2659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900" dirty="0">
                <a:solidFill>
                  <a:srgbClr val="FFFFFF"/>
                </a:solidFill>
                <a:latin typeface="Arial" panose="020B0604020202020204"/>
              </a:rPr>
              <a:t>Tallgrunnlaget (NHN)</a:t>
            </a:r>
          </a:p>
        </p:txBody>
      </p:sp>
      <p:sp>
        <p:nvSpPr>
          <p:cNvPr id="82" name="Femkant 65">
            <a:extLst>
              <a:ext uri="{FF2B5EF4-FFF2-40B4-BE49-F238E27FC236}">
                <a16:creationId xmlns:a16="http://schemas.microsoft.com/office/drawing/2014/main" id="{4094323A-1016-416A-BFA9-B6E49BE07695}"/>
              </a:ext>
            </a:extLst>
          </p:cNvPr>
          <p:cNvSpPr/>
          <p:nvPr/>
        </p:nvSpPr>
        <p:spPr>
          <a:xfrm>
            <a:off x="1933265" y="4924496"/>
            <a:ext cx="2443956" cy="249492"/>
          </a:xfrm>
          <a:prstGeom prst="homePlate">
            <a:avLst>
              <a:gd name="adj" fmla="val 2659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900" dirty="0">
                <a:solidFill>
                  <a:srgbClr val="FFFFFF"/>
                </a:solidFill>
                <a:latin typeface="Arial" panose="020B0604020202020204"/>
              </a:rPr>
              <a:t>Fordelingsprinsipper og beløp (E-helse)</a:t>
            </a:r>
          </a:p>
        </p:txBody>
      </p:sp>
      <p:sp>
        <p:nvSpPr>
          <p:cNvPr id="84" name="Femkant 63">
            <a:extLst>
              <a:ext uri="{FF2B5EF4-FFF2-40B4-BE49-F238E27FC236}">
                <a16:creationId xmlns:a16="http://schemas.microsoft.com/office/drawing/2014/main" id="{6C67B88C-7207-4987-BEDD-9D77D651438C}"/>
              </a:ext>
            </a:extLst>
          </p:cNvPr>
          <p:cNvSpPr/>
          <p:nvPr/>
        </p:nvSpPr>
        <p:spPr>
          <a:xfrm>
            <a:off x="1824786" y="2118687"/>
            <a:ext cx="3516991" cy="638042"/>
          </a:xfrm>
          <a:prstGeom prst="homePlate">
            <a:avLst>
              <a:gd name="adj" fmla="val 26596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r>
              <a:rPr lang="nb-NO" sz="900" b="1" dirty="0">
                <a:solidFill>
                  <a:srgbClr val="FFFFFF"/>
                </a:solidFill>
                <a:latin typeface="Arial" panose="020B0604020202020204"/>
              </a:rPr>
              <a:t>Lov om e-helse</a:t>
            </a: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5" name="Femkant 65">
            <a:extLst>
              <a:ext uri="{FF2B5EF4-FFF2-40B4-BE49-F238E27FC236}">
                <a16:creationId xmlns:a16="http://schemas.microsoft.com/office/drawing/2014/main" id="{8506575A-E0A8-4D7A-A42E-07528543000F}"/>
              </a:ext>
            </a:extLst>
          </p:cNvPr>
          <p:cNvSpPr/>
          <p:nvPr/>
        </p:nvSpPr>
        <p:spPr>
          <a:xfrm>
            <a:off x="1923623" y="2307717"/>
            <a:ext cx="3054391" cy="249492"/>
          </a:xfrm>
          <a:prstGeom prst="homePlate">
            <a:avLst>
              <a:gd name="adj" fmla="val 2659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900" dirty="0">
                <a:solidFill>
                  <a:srgbClr val="FFFFFF"/>
                </a:solidFill>
                <a:latin typeface="Arial" panose="020B0604020202020204"/>
              </a:rPr>
              <a:t>Arbeid med stortingsproposisjonen (HOD)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139CC180-6B22-4DF0-BDEB-75E0472B8359}"/>
              </a:ext>
            </a:extLst>
          </p:cNvPr>
          <p:cNvSpPr txBox="1"/>
          <p:nvPr/>
        </p:nvSpPr>
        <p:spPr>
          <a:xfrm>
            <a:off x="5270074" y="2556712"/>
            <a:ext cx="66830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265">
              <a:defRPr/>
            </a:pPr>
            <a:r>
              <a:rPr lang="nb-NO" sz="800" b="1" dirty="0" err="1">
                <a:solidFill>
                  <a:srgbClr val="2C3845"/>
                </a:solidFill>
                <a:latin typeface="Arial" panose="020B0604020202020204"/>
              </a:rPr>
              <a:t>Innst</a:t>
            </a: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 fra </a:t>
            </a:r>
            <a:r>
              <a:rPr lang="nb-NO" sz="800" b="1" dirty="0" err="1">
                <a:solidFill>
                  <a:srgbClr val="2C3845"/>
                </a:solidFill>
                <a:latin typeface="Arial" panose="020B0604020202020204"/>
              </a:rPr>
              <a:t>St.komite</a:t>
            </a:r>
            <a:endParaRPr lang="nb-NO" sz="800" b="1" dirty="0">
              <a:solidFill>
                <a:srgbClr val="2C3845"/>
              </a:solidFill>
              <a:latin typeface="Arial" panose="020B0604020202020204"/>
            </a:endParaRPr>
          </a:p>
        </p:txBody>
      </p:sp>
      <p:sp>
        <p:nvSpPr>
          <p:cNvPr id="89" name="Beslutning 88">
            <a:extLst>
              <a:ext uri="{FF2B5EF4-FFF2-40B4-BE49-F238E27FC236}">
                <a16:creationId xmlns:a16="http://schemas.microsoft.com/office/drawing/2014/main" id="{185B75F8-A6CD-44C2-BE81-71D1BFE1ABA8}"/>
              </a:ext>
            </a:extLst>
          </p:cNvPr>
          <p:cNvSpPr/>
          <p:nvPr/>
        </p:nvSpPr>
        <p:spPr>
          <a:xfrm>
            <a:off x="5192168" y="2289065"/>
            <a:ext cx="234448" cy="255027"/>
          </a:xfrm>
          <a:prstGeom prst="flowChartDecision">
            <a:avLst/>
          </a:prstGeom>
          <a:solidFill>
            <a:srgbClr val="F7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0" name="TekstSylinder 89">
            <a:extLst>
              <a:ext uri="{FF2B5EF4-FFF2-40B4-BE49-F238E27FC236}">
                <a16:creationId xmlns:a16="http://schemas.microsoft.com/office/drawing/2014/main" id="{42C48D48-32A9-44BA-9044-120059F72B2A}"/>
              </a:ext>
            </a:extLst>
          </p:cNvPr>
          <p:cNvSpPr txBox="1"/>
          <p:nvPr/>
        </p:nvSpPr>
        <p:spPr>
          <a:xfrm>
            <a:off x="5450194" y="2331949"/>
            <a:ext cx="444352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03.11</a:t>
            </a:r>
          </a:p>
        </p:txBody>
      </p:sp>
      <p:sp>
        <p:nvSpPr>
          <p:cNvPr id="91" name="Femkant 63">
            <a:extLst>
              <a:ext uri="{FF2B5EF4-FFF2-40B4-BE49-F238E27FC236}">
                <a16:creationId xmlns:a16="http://schemas.microsoft.com/office/drawing/2014/main" id="{9E9FE66C-3E02-4E1D-A0AE-7149C15FFA62}"/>
              </a:ext>
            </a:extLst>
          </p:cNvPr>
          <p:cNvSpPr/>
          <p:nvPr/>
        </p:nvSpPr>
        <p:spPr>
          <a:xfrm>
            <a:off x="1829732" y="3132382"/>
            <a:ext cx="2806038" cy="638042"/>
          </a:xfrm>
          <a:prstGeom prst="homePlate">
            <a:avLst>
              <a:gd name="adj" fmla="val 26596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r>
              <a:rPr lang="nb-NO" sz="900" b="1" dirty="0">
                <a:solidFill>
                  <a:srgbClr val="FFFFFF"/>
                </a:solidFill>
                <a:latin typeface="Arial" panose="020B0604020202020204"/>
              </a:rPr>
              <a:t>Forskriftsarbeidet (HOD)</a:t>
            </a: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2" name="Femkant 65">
            <a:extLst>
              <a:ext uri="{FF2B5EF4-FFF2-40B4-BE49-F238E27FC236}">
                <a16:creationId xmlns:a16="http://schemas.microsoft.com/office/drawing/2014/main" id="{1F901FA1-0089-4CF9-91B5-5749F92B8882}"/>
              </a:ext>
            </a:extLst>
          </p:cNvPr>
          <p:cNvSpPr/>
          <p:nvPr/>
        </p:nvSpPr>
        <p:spPr>
          <a:xfrm>
            <a:off x="1928569" y="3321412"/>
            <a:ext cx="2436952" cy="249492"/>
          </a:xfrm>
          <a:prstGeom prst="homePlate">
            <a:avLst>
              <a:gd name="adj" fmla="val 2659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900" dirty="0">
                <a:solidFill>
                  <a:srgbClr val="FFFFFF"/>
                </a:solidFill>
                <a:latin typeface="Arial" panose="020B0604020202020204"/>
              </a:rPr>
              <a:t>Oppdrag i tildelingsbrev (E-helse)</a:t>
            </a:r>
          </a:p>
        </p:txBody>
      </p:sp>
      <p:sp>
        <p:nvSpPr>
          <p:cNvPr id="93" name="TekstSylinder 92">
            <a:extLst>
              <a:ext uri="{FF2B5EF4-FFF2-40B4-BE49-F238E27FC236}">
                <a16:creationId xmlns:a16="http://schemas.microsoft.com/office/drawing/2014/main" id="{C78F1883-FC4C-4712-AB10-B5194B9D2FDF}"/>
              </a:ext>
            </a:extLst>
          </p:cNvPr>
          <p:cNvSpPr txBox="1"/>
          <p:nvPr/>
        </p:nvSpPr>
        <p:spPr>
          <a:xfrm>
            <a:off x="4632702" y="3570904"/>
            <a:ext cx="696024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Leveranse</a:t>
            </a:r>
          </a:p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HOD</a:t>
            </a:r>
          </a:p>
        </p:txBody>
      </p:sp>
      <p:sp>
        <p:nvSpPr>
          <p:cNvPr id="94" name="Beslutning 93">
            <a:extLst>
              <a:ext uri="{FF2B5EF4-FFF2-40B4-BE49-F238E27FC236}">
                <a16:creationId xmlns:a16="http://schemas.microsoft.com/office/drawing/2014/main" id="{EDEB1332-12DA-4D2E-B5D3-C4AD0B68A923}"/>
              </a:ext>
            </a:extLst>
          </p:cNvPr>
          <p:cNvSpPr/>
          <p:nvPr/>
        </p:nvSpPr>
        <p:spPr>
          <a:xfrm>
            <a:off x="4505876" y="3303258"/>
            <a:ext cx="234448" cy="255027"/>
          </a:xfrm>
          <a:prstGeom prst="flowChartDecision">
            <a:avLst/>
          </a:prstGeom>
          <a:solidFill>
            <a:srgbClr val="F7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5" name="TekstSylinder 94">
            <a:extLst>
              <a:ext uri="{FF2B5EF4-FFF2-40B4-BE49-F238E27FC236}">
                <a16:creationId xmlns:a16="http://schemas.microsoft.com/office/drawing/2014/main" id="{D57FD7FA-7357-475E-BC76-AC6B7FD77F91}"/>
              </a:ext>
            </a:extLst>
          </p:cNvPr>
          <p:cNvSpPr txBox="1"/>
          <p:nvPr/>
        </p:nvSpPr>
        <p:spPr>
          <a:xfrm>
            <a:off x="4763902" y="3346141"/>
            <a:ext cx="444352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15.10</a:t>
            </a:r>
          </a:p>
        </p:txBody>
      </p:sp>
      <p:sp>
        <p:nvSpPr>
          <p:cNvPr id="2" name="Pil: ned 1">
            <a:extLst>
              <a:ext uri="{FF2B5EF4-FFF2-40B4-BE49-F238E27FC236}">
                <a16:creationId xmlns:a16="http://schemas.microsoft.com/office/drawing/2014/main" id="{87E1F4B2-1897-4AC3-80D7-3B74A4033E75}"/>
              </a:ext>
            </a:extLst>
          </p:cNvPr>
          <p:cNvSpPr/>
          <p:nvPr/>
        </p:nvSpPr>
        <p:spPr>
          <a:xfrm rot="10800000">
            <a:off x="2946500" y="3762027"/>
            <a:ext cx="180519" cy="366272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5"/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96" name="Pil: ned 95">
            <a:extLst>
              <a:ext uri="{FF2B5EF4-FFF2-40B4-BE49-F238E27FC236}">
                <a16:creationId xmlns:a16="http://schemas.microsoft.com/office/drawing/2014/main" id="{1497DE89-AE14-4EF9-BFB4-BE22698659DE}"/>
              </a:ext>
            </a:extLst>
          </p:cNvPr>
          <p:cNvSpPr/>
          <p:nvPr/>
        </p:nvSpPr>
        <p:spPr>
          <a:xfrm rot="10800000">
            <a:off x="4305068" y="3775309"/>
            <a:ext cx="180519" cy="366272"/>
          </a:xfrm>
          <a:prstGeom prst="down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5"/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99" name="Femkant 63">
            <a:extLst>
              <a:ext uri="{FF2B5EF4-FFF2-40B4-BE49-F238E27FC236}">
                <a16:creationId xmlns:a16="http://schemas.microsoft.com/office/drawing/2014/main" id="{998C5BF4-6A39-4A23-9D8A-73009FF98C83}"/>
              </a:ext>
            </a:extLst>
          </p:cNvPr>
          <p:cNvSpPr/>
          <p:nvPr/>
        </p:nvSpPr>
        <p:spPr>
          <a:xfrm>
            <a:off x="6317708" y="3145831"/>
            <a:ext cx="2410445" cy="638042"/>
          </a:xfrm>
          <a:prstGeom prst="homePlate">
            <a:avLst>
              <a:gd name="adj" fmla="val 26596"/>
            </a:avLst>
          </a:prstGeom>
          <a:solidFill>
            <a:schemeClr val="accent5"/>
          </a:solidFill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r>
              <a:rPr lang="nb-NO" sz="900" b="1" dirty="0">
                <a:solidFill>
                  <a:srgbClr val="FFFFFF"/>
                </a:solidFill>
                <a:latin typeface="Arial" panose="020B0604020202020204"/>
              </a:rPr>
              <a:t>Forskrift på høring</a:t>
            </a: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0" name="Femkant 65">
            <a:extLst>
              <a:ext uri="{FF2B5EF4-FFF2-40B4-BE49-F238E27FC236}">
                <a16:creationId xmlns:a16="http://schemas.microsoft.com/office/drawing/2014/main" id="{A1897BE4-A677-4745-8D5D-8549132E1115}"/>
              </a:ext>
            </a:extLst>
          </p:cNvPr>
          <p:cNvSpPr/>
          <p:nvPr/>
        </p:nvSpPr>
        <p:spPr>
          <a:xfrm>
            <a:off x="6364511" y="3334861"/>
            <a:ext cx="2093392" cy="249492"/>
          </a:xfrm>
          <a:prstGeom prst="homePlate">
            <a:avLst>
              <a:gd name="adj" fmla="val 26596"/>
            </a:avLst>
          </a:prstGeom>
          <a:solidFill>
            <a:schemeClr val="accent3"/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900" dirty="0">
                <a:solidFill>
                  <a:srgbClr val="FFFFFF"/>
                </a:solidFill>
                <a:latin typeface="Arial" panose="020B0604020202020204"/>
              </a:rPr>
              <a:t>Usikkert når…</a:t>
            </a:r>
          </a:p>
        </p:txBody>
      </p:sp>
      <p:sp>
        <p:nvSpPr>
          <p:cNvPr id="102" name="TekstSylinder 101">
            <a:extLst>
              <a:ext uri="{FF2B5EF4-FFF2-40B4-BE49-F238E27FC236}">
                <a16:creationId xmlns:a16="http://schemas.microsoft.com/office/drawing/2014/main" id="{7A86F451-2936-488A-95FC-8ED4F8A84675}"/>
              </a:ext>
            </a:extLst>
          </p:cNvPr>
          <p:cNvSpPr txBox="1"/>
          <p:nvPr/>
        </p:nvSpPr>
        <p:spPr>
          <a:xfrm>
            <a:off x="8701677" y="3573923"/>
            <a:ext cx="1111202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Forskrift trer i kraft</a:t>
            </a:r>
          </a:p>
        </p:txBody>
      </p:sp>
      <p:sp>
        <p:nvSpPr>
          <p:cNvPr id="103" name="Beslutning 102">
            <a:extLst>
              <a:ext uri="{FF2B5EF4-FFF2-40B4-BE49-F238E27FC236}">
                <a16:creationId xmlns:a16="http://schemas.microsoft.com/office/drawing/2014/main" id="{20F60A02-3FEC-4325-87BB-AE8F12E768A1}"/>
              </a:ext>
            </a:extLst>
          </p:cNvPr>
          <p:cNvSpPr/>
          <p:nvPr/>
        </p:nvSpPr>
        <p:spPr>
          <a:xfrm>
            <a:off x="8574851" y="3306276"/>
            <a:ext cx="234448" cy="255027"/>
          </a:xfrm>
          <a:prstGeom prst="flowChartDecision">
            <a:avLst/>
          </a:prstGeom>
          <a:solidFill>
            <a:srgbClr val="F7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4" name="TekstSylinder 103">
            <a:extLst>
              <a:ext uri="{FF2B5EF4-FFF2-40B4-BE49-F238E27FC236}">
                <a16:creationId xmlns:a16="http://schemas.microsoft.com/office/drawing/2014/main" id="{A8C11280-3193-4220-B3C8-03973B703A66}"/>
              </a:ext>
            </a:extLst>
          </p:cNvPr>
          <p:cNvSpPr txBox="1"/>
          <p:nvPr/>
        </p:nvSpPr>
        <p:spPr>
          <a:xfrm>
            <a:off x="8832877" y="3349160"/>
            <a:ext cx="588623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01.01.22</a:t>
            </a: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316E4624-C0F1-4F5D-A64E-BD8FEF5E2C28}"/>
              </a:ext>
            </a:extLst>
          </p:cNvPr>
          <p:cNvSpPr/>
          <p:nvPr/>
        </p:nvSpPr>
        <p:spPr>
          <a:xfrm>
            <a:off x="332837" y="1989472"/>
            <a:ext cx="1302031" cy="89647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5"/>
            <a:r>
              <a:rPr lang="nb-NO" sz="1200" dirty="0">
                <a:solidFill>
                  <a:srgbClr val="281C2C"/>
                </a:solidFill>
                <a:latin typeface="Arial" panose="020B0604020202020204"/>
              </a:rPr>
              <a:t>Lov e-helse/statsbudsjett</a:t>
            </a:r>
          </a:p>
        </p:txBody>
      </p:sp>
      <p:sp>
        <p:nvSpPr>
          <p:cNvPr id="105" name="Ellipse 104">
            <a:extLst>
              <a:ext uri="{FF2B5EF4-FFF2-40B4-BE49-F238E27FC236}">
                <a16:creationId xmlns:a16="http://schemas.microsoft.com/office/drawing/2014/main" id="{2B38D936-D2FE-43A4-AABF-438CBD8F9CD2}"/>
              </a:ext>
            </a:extLst>
          </p:cNvPr>
          <p:cNvSpPr/>
          <p:nvPr/>
        </p:nvSpPr>
        <p:spPr>
          <a:xfrm>
            <a:off x="337977" y="3048693"/>
            <a:ext cx="1302031" cy="89647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5"/>
            <a:r>
              <a:rPr lang="nb-NO" sz="1200" dirty="0">
                <a:solidFill>
                  <a:srgbClr val="281C2C"/>
                </a:solidFill>
                <a:latin typeface="Arial" panose="020B0604020202020204"/>
              </a:rPr>
              <a:t>Forskriften</a:t>
            </a:r>
          </a:p>
        </p:txBody>
      </p:sp>
      <p:sp>
        <p:nvSpPr>
          <p:cNvPr id="106" name="Ellipse 105">
            <a:extLst>
              <a:ext uri="{FF2B5EF4-FFF2-40B4-BE49-F238E27FC236}">
                <a16:creationId xmlns:a16="http://schemas.microsoft.com/office/drawing/2014/main" id="{761CCEB9-2439-4405-995C-9313A283AFD7}"/>
              </a:ext>
            </a:extLst>
          </p:cNvPr>
          <p:cNvSpPr/>
          <p:nvPr/>
        </p:nvSpPr>
        <p:spPr>
          <a:xfrm>
            <a:off x="337131" y="4601007"/>
            <a:ext cx="1302031" cy="89647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75"/>
            <a:r>
              <a:rPr lang="nb-NO" sz="1200" dirty="0">
                <a:solidFill>
                  <a:srgbClr val="281C2C"/>
                </a:solidFill>
                <a:latin typeface="Arial" panose="020B0604020202020204"/>
              </a:rPr>
              <a:t>TBU</a:t>
            </a:r>
          </a:p>
        </p:txBody>
      </p:sp>
      <p:sp>
        <p:nvSpPr>
          <p:cNvPr id="107" name="Femkant 63">
            <a:extLst>
              <a:ext uri="{FF2B5EF4-FFF2-40B4-BE49-F238E27FC236}">
                <a16:creationId xmlns:a16="http://schemas.microsoft.com/office/drawing/2014/main" id="{4846A672-9F05-4E7A-A44B-5008A5CC1619}"/>
              </a:ext>
            </a:extLst>
          </p:cNvPr>
          <p:cNvSpPr/>
          <p:nvPr/>
        </p:nvSpPr>
        <p:spPr>
          <a:xfrm>
            <a:off x="5955395" y="2117248"/>
            <a:ext cx="2084821" cy="638042"/>
          </a:xfrm>
          <a:prstGeom prst="homePlate">
            <a:avLst>
              <a:gd name="adj" fmla="val 26596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r>
              <a:rPr lang="nb-NO" sz="900" b="1" dirty="0">
                <a:solidFill>
                  <a:srgbClr val="FFFFFF"/>
                </a:solidFill>
                <a:latin typeface="Arial" panose="020B0604020202020204"/>
              </a:rPr>
              <a:t>Statsbudsjett 2022</a:t>
            </a: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8" name="Femkant 65">
            <a:extLst>
              <a:ext uri="{FF2B5EF4-FFF2-40B4-BE49-F238E27FC236}">
                <a16:creationId xmlns:a16="http://schemas.microsoft.com/office/drawing/2014/main" id="{A14213A1-8B3B-406B-832F-E688E8373223}"/>
              </a:ext>
            </a:extLst>
          </p:cNvPr>
          <p:cNvSpPr/>
          <p:nvPr/>
        </p:nvSpPr>
        <p:spPr>
          <a:xfrm>
            <a:off x="6054232" y="2306278"/>
            <a:ext cx="1810599" cy="249492"/>
          </a:xfrm>
          <a:prstGeom prst="homePlate">
            <a:avLst>
              <a:gd name="adj" fmla="val 26596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r>
              <a:rPr lang="nb-NO" sz="900" dirty="0">
                <a:solidFill>
                  <a:srgbClr val="FFFFFF"/>
                </a:solidFill>
                <a:latin typeface="Arial" panose="020B0604020202020204"/>
              </a:rPr>
              <a:t>HOD forbereder mars 2021</a:t>
            </a:r>
          </a:p>
        </p:txBody>
      </p:sp>
      <p:sp>
        <p:nvSpPr>
          <p:cNvPr id="109" name="TekstSylinder 108">
            <a:extLst>
              <a:ext uri="{FF2B5EF4-FFF2-40B4-BE49-F238E27FC236}">
                <a16:creationId xmlns:a16="http://schemas.microsoft.com/office/drawing/2014/main" id="{1DD4FA99-CAF0-4E5C-A326-9083AD8A4619}"/>
              </a:ext>
            </a:extLst>
          </p:cNvPr>
          <p:cNvSpPr txBox="1"/>
          <p:nvPr/>
        </p:nvSpPr>
        <p:spPr>
          <a:xfrm>
            <a:off x="8670834" y="2553490"/>
            <a:ext cx="1157689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Flyttet midler i SB</a:t>
            </a:r>
          </a:p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ut til virksomhetene</a:t>
            </a:r>
          </a:p>
        </p:txBody>
      </p:sp>
      <p:sp>
        <p:nvSpPr>
          <p:cNvPr id="110" name="Beslutning 109">
            <a:extLst>
              <a:ext uri="{FF2B5EF4-FFF2-40B4-BE49-F238E27FC236}">
                <a16:creationId xmlns:a16="http://schemas.microsoft.com/office/drawing/2014/main" id="{760EF433-A3FE-4C48-80B3-78E1A6B07DEA}"/>
              </a:ext>
            </a:extLst>
          </p:cNvPr>
          <p:cNvSpPr/>
          <p:nvPr/>
        </p:nvSpPr>
        <p:spPr>
          <a:xfrm>
            <a:off x="8544008" y="2285843"/>
            <a:ext cx="234448" cy="255027"/>
          </a:xfrm>
          <a:prstGeom prst="flowChartDecision">
            <a:avLst/>
          </a:prstGeom>
          <a:solidFill>
            <a:srgbClr val="F7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1" name="TekstSylinder 110">
            <a:extLst>
              <a:ext uri="{FF2B5EF4-FFF2-40B4-BE49-F238E27FC236}">
                <a16:creationId xmlns:a16="http://schemas.microsoft.com/office/drawing/2014/main" id="{C186ECD8-059B-4667-84B3-A080C7BC1C7E}"/>
              </a:ext>
            </a:extLst>
          </p:cNvPr>
          <p:cNvSpPr txBox="1"/>
          <p:nvPr/>
        </p:nvSpPr>
        <p:spPr>
          <a:xfrm>
            <a:off x="8802034" y="2328727"/>
            <a:ext cx="588623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defTabSz="914265">
              <a:defRPr/>
            </a:pPr>
            <a:r>
              <a:rPr lang="nb-NO" sz="800" b="1" dirty="0">
                <a:solidFill>
                  <a:srgbClr val="2C3845"/>
                </a:solidFill>
                <a:latin typeface="Arial" panose="020B0604020202020204"/>
              </a:rPr>
              <a:t>01.01.22</a:t>
            </a:r>
          </a:p>
        </p:txBody>
      </p:sp>
      <p:sp>
        <p:nvSpPr>
          <p:cNvPr id="115" name="Femkant 63">
            <a:extLst>
              <a:ext uri="{FF2B5EF4-FFF2-40B4-BE49-F238E27FC236}">
                <a16:creationId xmlns:a16="http://schemas.microsoft.com/office/drawing/2014/main" id="{5B659BFA-4CAF-41A5-B87A-42AECF6C5515}"/>
              </a:ext>
            </a:extLst>
          </p:cNvPr>
          <p:cNvSpPr/>
          <p:nvPr/>
        </p:nvSpPr>
        <p:spPr>
          <a:xfrm>
            <a:off x="5844211" y="3158602"/>
            <a:ext cx="218026" cy="638042"/>
          </a:xfrm>
          <a:prstGeom prst="homePlate">
            <a:avLst>
              <a:gd name="adj" fmla="val 26596"/>
            </a:avLst>
          </a:prstGeom>
          <a:solidFill>
            <a:schemeClr val="accent5"/>
          </a:solidFill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6" name="Femkant 63">
            <a:extLst>
              <a:ext uri="{FF2B5EF4-FFF2-40B4-BE49-F238E27FC236}">
                <a16:creationId xmlns:a16="http://schemas.microsoft.com/office/drawing/2014/main" id="{781E2395-C7B3-4AB0-A285-53ABB1155AA1}"/>
              </a:ext>
            </a:extLst>
          </p:cNvPr>
          <p:cNvSpPr/>
          <p:nvPr/>
        </p:nvSpPr>
        <p:spPr>
          <a:xfrm>
            <a:off x="6067821" y="3158602"/>
            <a:ext cx="218026" cy="638042"/>
          </a:xfrm>
          <a:prstGeom prst="homePlate">
            <a:avLst>
              <a:gd name="adj" fmla="val 26596"/>
            </a:avLst>
          </a:prstGeom>
          <a:solidFill>
            <a:schemeClr val="accent5"/>
          </a:solidFill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5">
              <a:defRPr/>
            </a:pPr>
            <a:endParaRPr lang="nb-NO" sz="900" b="1" dirty="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1611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CF5E2E1F-63F4-4EC7-B8F1-22180F5681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BU skal…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62E64EE-FFD2-421F-AEF1-DE5F3172297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nb-NO" dirty="0"/>
              <a:t>Hva skjer med budsjettmidlene?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89C12B0-311F-462F-8ECA-5824A2567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6</a:t>
            </a:fld>
            <a:endParaRPr lang="nb-NO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8116CB1A-A485-4796-80B6-0DC5EE7F7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oen viktige budskap - rekapitulering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CF3A47B3-52A0-4E7A-B3D7-744B4E972DA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/>
          </a:bodyPr>
          <a:lstStyle/>
          <a:p>
            <a:pPr lvl="0"/>
            <a:r>
              <a:rPr lang="nb-NO" sz="1800" dirty="0"/>
              <a:t>…ikke prioritere satsninger i forvaltning. </a:t>
            </a:r>
          </a:p>
          <a:p>
            <a:pPr lvl="0"/>
            <a:r>
              <a:rPr lang="nb-NO" sz="1800" dirty="0"/>
              <a:t>…skal vurdere kostnader til drift og forvaltning, ikke nyinvesteringer til utviklingsprosjekter. </a:t>
            </a:r>
          </a:p>
          <a:p>
            <a:endParaRPr lang="nb-NO" sz="1800" dirty="0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DD0F2C0B-10B9-491F-8D80-FF40EE7FABD1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>
            <a:noAutofit/>
          </a:bodyPr>
          <a:lstStyle/>
          <a:p>
            <a:pPr lvl="0"/>
            <a:r>
              <a:rPr lang="nb-NO" sz="1800" dirty="0"/>
              <a:t>Ordningen med det vi kaller budsjettert samfinansiering (penger flyttes fra aktørenes budsjetter og samles i </a:t>
            </a:r>
            <a:r>
              <a:rPr lang="nb-NO" sz="1800" dirty="0" err="1"/>
              <a:t>NHNs</a:t>
            </a:r>
            <a:r>
              <a:rPr lang="nb-NO" sz="1800" dirty="0"/>
              <a:t> budsjett) videreføres i 2021. Hvor mye som skal flyttes fra hvem – gjenstår å avklare (fordelingsprinsipper)</a:t>
            </a:r>
          </a:p>
          <a:p>
            <a:pPr lvl="0"/>
            <a:endParaRPr lang="nb-NO" sz="1800" dirty="0"/>
          </a:p>
          <a:p>
            <a:pPr lvl="0"/>
            <a:r>
              <a:rPr lang="nb-NO" sz="1800" dirty="0"/>
              <a:t>Når fakturert samfinansiering blir innført (2022?) – er planen å flytte de samme pengene fra </a:t>
            </a:r>
            <a:r>
              <a:rPr lang="nb-NO" sz="1800" dirty="0" err="1"/>
              <a:t>NHNs</a:t>
            </a:r>
            <a:r>
              <a:rPr lang="nb-NO" sz="1800" dirty="0"/>
              <a:t> budsjetter til aktørenes budsjetter igjen. Dette kan skje gradvis – og igjen kommer fordelingsprinsippene inn i bildet (Prop.65L, s.78) </a:t>
            </a:r>
          </a:p>
          <a:p>
            <a:pPr lvl="0"/>
            <a:endParaRPr lang="nb-NO" sz="1800" dirty="0"/>
          </a:p>
          <a:p>
            <a:pPr lvl="0"/>
            <a:r>
              <a:rPr lang="nb-NO" sz="1800" dirty="0"/>
              <a:t>Etter dette skal aktørene finansiere ytterligere vekst i årene fremover, utover de midlene som er tilbakeført til aktørenes budsjetter.</a:t>
            </a:r>
          </a:p>
        </p:txBody>
      </p:sp>
    </p:spTree>
    <p:extLst>
      <p:ext uri="{BB962C8B-B14F-4D97-AF65-F5344CB8AC3E}">
        <p14:creationId xmlns:p14="http://schemas.microsoft.com/office/powerpoint/2010/main" val="41512118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8"/>
          <p:cNvSpPr/>
          <p:nvPr/>
        </p:nvSpPr>
        <p:spPr>
          <a:xfrm>
            <a:off x="1405320" y="2028202"/>
            <a:ext cx="5600879" cy="45434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Budsjett og prognose 2020 og budsjett 2021</a:t>
            </a:r>
          </a:p>
        </p:txBody>
      </p:sp>
      <p:sp>
        <p:nvSpPr>
          <p:cNvPr id="12" name="Rektangel 9"/>
          <p:cNvSpPr/>
          <p:nvPr/>
        </p:nvSpPr>
        <p:spPr>
          <a:xfrm>
            <a:off x="720487" y="1475711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1</a:t>
            </a:r>
          </a:p>
        </p:txBody>
      </p:sp>
      <p:sp>
        <p:nvSpPr>
          <p:cNvPr id="13" name="Rektangel 10"/>
          <p:cNvSpPr/>
          <p:nvPr/>
        </p:nvSpPr>
        <p:spPr>
          <a:xfrm>
            <a:off x="720487" y="2028195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2</a:t>
            </a:r>
          </a:p>
        </p:txBody>
      </p:sp>
      <p:sp>
        <p:nvSpPr>
          <p:cNvPr id="14" name="Rektangel 11"/>
          <p:cNvSpPr/>
          <p:nvPr/>
        </p:nvSpPr>
        <p:spPr>
          <a:xfrm>
            <a:off x="1405320" y="147571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Godkjenning av innkalling og dagsorden</a:t>
            </a:r>
          </a:p>
        </p:txBody>
      </p:sp>
      <p:sp>
        <p:nvSpPr>
          <p:cNvPr id="10" name="Rektangel 9"/>
          <p:cNvSpPr/>
          <p:nvPr/>
        </p:nvSpPr>
        <p:spPr>
          <a:xfrm>
            <a:off x="720487" y="258067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16" name="Rektangel 11"/>
          <p:cNvSpPr/>
          <p:nvPr/>
        </p:nvSpPr>
        <p:spPr>
          <a:xfrm>
            <a:off x="1405320" y="258068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 lvl="0"/>
            <a:r>
              <a:rPr lang="nb-NO" sz="1400" dirty="0"/>
              <a:t>Fordelingsprinsipper</a:t>
            </a:r>
          </a:p>
        </p:txBody>
      </p:sp>
      <p:sp>
        <p:nvSpPr>
          <p:cNvPr id="18" name="Rektangel 9"/>
          <p:cNvSpPr/>
          <p:nvPr/>
        </p:nvSpPr>
        <p:spPr>
          <a:xfrm>
            <a:off x="720487" y="3133163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4</a:t>
            </a:r>
          </a:p>
        </p:txBody>
      </p:sp>
      <p:sp>
        <p:nvSpPr>
          <p:cNvPr id="20" name="Rektangel 11"/>
          <p:cNvSpPr/>
          <p:nvPr/>
        </p:nvSpPr>
        <p:spPr>
          <a:xfrm>
            <a:off x="1405320" y="3133172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 dirty="0">
                <a:solidFill>
                  <a:srgbClr val="281C2C"/>
                </a:solidFill>
              </a:rPr>
              <a:t>Veien videre og møtedato vår 2021</a:t>
            </a:r>
          </a:p>
        </p:txBody>
      </p:sp>
      <p:sp>
        <p:nvSpPr>
          <p:cNvPr id="28" name="Rektangel 9">
            <a:extLst>
              <a:ext uri="{FF2B5EF4-FFF2-40B4-BE49-F238E27FC236}">
                <a16:creationId xmlns:a16="http://schemas.microsoft.com/office/drawing/2014/main" id="{B6BF1538-ABED-44E5-98B9-A91841679744}"/>
              </a:ext>
            </a:extLst>
          </p:cNvPr>
          <p:cNvSpPr/>
          <p:nvPr/>
        </p:nvSpPr>
        <p:spPr>
          <a:xfrm>
            <a:off x="720487" y="3685649"/>
            <a:ext cx="599922" cy="454350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068" tIns="74896" rIns="76068" bIns="74896" rtlCol="0" anchor="ctr"/>
          <a:lstStyle/>
          <a:p>
            <a:pPr algn="ctr" defTabSz="912912">
              <a:defRPr/>
            </a:pPr>
            <a:r>
              <a:rPr lang="nb-NO" sz="3400" b="1" dirty="0">
                <a:solidFill>
                  <a:prstClr val="white"/>
                </a:solidFill>
                <a:latin typeface="Arial" panose="020B0604020202020204"/>
              </a:rPr>
              <a:t>5</a:t>
            </a:r>
          </a:p>
        </p:txBody>
      </p:sp>
      <p:sp>
        <p:nvSpPr>
          <p:cNvPr id="29" name="Rektangel 11">
            <a:extLst>
              <a:ext uri="{FF2B5EF4-FFF2-40B4-BE49-F238E27FC236}">
                <a16:creationId xmlns:a16="http://schemas.microsoft.com/office/drawing/2014/main" id="{ED46D673-65CF-444B-9D35-FE53ED2E72E9}"/>
              </a:ext>
            </a:extLst>
          </p:cNvPr>
          <p:cNvSpPr/>
          <p:nvPr/>
        </p:nvSpPr>
        <p:spPr>
          <a:xfrm>
            <a:off x="1405320" y="3685657"/>
            <a:ext cx="5600879" cy="4543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6068" tIns="38034" rIns="76068" bIns="38034" anchor="ctr" anchorCtr="0">
            <a:noAutofit/>
          </a:bodyPr>
          <a:lstStyle/>
          <a:p>
            <a:pPr>
              <a:defRPr/>
            </a:pPr>
            <a:r>
              <a:rPr lang="nb-NO" sz="1400">
                <a:solidFill>
                  <a:srgbClr val="281C2C"/>
                </a:solidFill>
              </a:rPr>
              <a:t>Eventuelt</a:t>
            </a:r>
            <a:endParaRPr lang="nb-NO" sz="1400" dirty="0">
              <a:solidFill>
                <a:srgbClr val="281C2C"/>
              </a:solidFill>
            </a:endParaRPr>
          </a:p>
        </p:txBody>
      </p:sp>
      <p:sp>
        <p:nvSpPr>
          <p:cNvPr id="24" name="Title 6">
            <a:extLst>
              <a:ext uri="{FF2B5EF4-FFF2-40B4-BE49-F238E27FC236}">
                <a16:creationId xmlns:a16="http://schemas.microsoft.com/office/drawing/2014/main" id="{9A96F8CF-FE07-4815-B667-B5F2E925F3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50" y="214987"/>
            <a:ext cx="10783348" cy="836810"/>
          </a:xfrm>
        </p:spPr>
        <p:txBody>
          <a:bodyPr>
            <a:normAutofit/>
          </a:bodyPr>
          <a:lstStyle/>
          <a:p>
            <a:r>
              <a:rPr lang="en-US" dirty="0"/>
              <a:t>Agenda</a:t>
            </a:r>
          </a:p>
        </p:txBody>
      </p:sp>
      <p:pic>
        <p:nvPicPr>
          <p:cNvPr id="21" name="Plassholder for innhold 6">
            <a:extLst>
              <a:ext uri="{FF2B5EF4-FFF2-40B4-BE49-F238E27FC236}">
                <a16:creationId xmlns:a16="http://schemas.microsoft.com/office/drawing/2014/main" id="{ED9D26FF-986F-40A8-BD47-9A879CC6519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31"/>
          <a:stretch/>
        </p:blipFill>
        <p:spPr>
          <a:xfrm>
            <a:off x="7627325" y="1475712"/>
            <a:ext cx="3255024" cy="372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3126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3FBBC5-9F8A-4898-902E-B0A585E4C0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dirty="0"/>
              <a:t>03.09.2020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A7B1EC-46DD-4C4F-A6A0-417E49F33B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/>
              <a:t>Norsk Helsenett SF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8C3DD7-0D20-4386-AD0E-BDBC3F13A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000" y="2307826"/>
            <a:ext cx="8607560" cy="646331"/>
          </a:xfrm>
        </p:spPr>
        <p:txBody>
          <a:bodyPr/>
          <a:lstStyle/>
          <a:p>
            <a:r>
              <a:rPr lang="nb-NO" dirty="0"/>
              <a:t>Tallgrunnlag</a:t>
            </a:r>
          </a:p>
        </p:txBody>
      </p:sp>
    </p:spTree>
    <p:extLst>
      <p:ext uri="{BB962C8B-B14F-4D97-AF65-F5344CB8AC3E}">
        <p14:creationId xmlns:p14="http://schemas.microsoft.com/office/powerpoint/2010/main" val="13484871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E271D70-2BCB-40BF-8524-762375BED2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sz="2800" dirty="0"/>
              <a:t>Tallgrunnlag for 2020 med budsjett og </a:t>
            </a:r>
            <a:r>
              <a:rPr lang="nb-NO" sz="2800" dirty="0" err="1"/>
              <a:t>årsprognose</a:t>
            </a:r>
            <a:endParaRPr lang="nb-NO" sz="2800" dirty="0"/>
          </a:p>
          <a:p>
            <a:r>
              <a:rPr lang="nb-NO" sz="2800" dirty="0"/>
              <a:t>Budsjett 2021</a:t>
            </a:r>
          </a:p>
          <a:p>
            <a:pPr lvl="1"/>
            <a:r>
              <a:rPr lang="nb-NO" sz="2000" dirty="0"/>
              <a:t>effektivisering og kostnadsreduksjoner</a:t>
            </a:r>
          </a:p>
          <a:p>
            <a:pPr lvl="1"/>
            <a:r>
              <a:rPr lang="nb-NO" sz="2000" dirty="0"/>
              <a:t>vekst knyttet til nye drift- og forvaltningsoppgaver </a:t>
            </a:r>
          </a:p>
          <a:p>
            <a:pPr lvl="1"/>
            <a:r>
              <a:rPr lang="nb-NO" sz="2000" dirty="0"/>
              <a:t>økt behov for forbedringer</a:t>
            </a:r>
          </a:p>
          <a:p>
            <a:pPr lvl="1"/>
            <a:endParaRPr lang="nb-NO" sz="2000" dirty="0"/>
          </a:p>
          <a:p>
            <a:r>
              <a:rPr lang="nb-NO" sz="2800" dirty="0"/>
              <a:t>Alle tall inkluderer kun kostnader knyttet til drift og forvaltning (ikke investeringer)</a:t>
            </a:r>
            <a:br>
              <a:rPr lang="nb-NO" sz="2800" dirty="0"/>
            </a:br>
            <a:endParaRPr lang="nb-NO" sz="28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89112AA-0268-48BF-9336-52325592D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presenterer </a:t>
            </a:r>
            <a:r>
              <a:rPr lang="nb-NO" dirty="0" err="1"/>
              <a:t>nhn</a:t>
            </a:r>
            <a:r>
              <a:rPr lang="nb-NO" dirty="0"/>
              <a:t> i dag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C646537-A48C-4BC9-8041-79441428C6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724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l37e_fOKt_Pjid6FXK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-tema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.xml><?xml version="1.0" encoding="utf-8"?>
<a:theme xmlns:a="http://schemas.openxmlformats.org/drawingml/2006/main" name="Mørk bakgrunn (2020.1)">
  <a:themeElements>
    <a:clrScheme name="Custom 2">
      <a:dk1>
        <a:srgbClr val="2C3845"/>
      </a:dk1>
      <a:lt1>
        <a:srgbClr val="FFFFFF"/>
      </a:lt1>
      <a:dk2>
        <a:srgbClr val="54616C"/>
      </a:dk2>
      <a:lt2>
        <a:srgbClr val="E5E8E8"/>
      </a:lt2>
      <a:accent1>
        <a:srgbClr val="9FA5AE"/>
      </a:accent1>
      <a:accent2>
        <a:srgbClr val="4D9D34"/>
      </a:accent2>
      <a:accent3>
        <a:srgbClr val="70C1B8"/>
      </a:accent3>
      <a:accent4>
        <a:srgbClr val="DAAA00"/>
      </a:accent4>
      <a:accent5>
        <a:srgbClr val="97386F"/>
      </a:accent5>
      <a:accent6>
        <a:srgbClr val="D3D6DA"/>
      </a:accent6>
      <a:hlink>
        <a:srgbClr val="00A0EF"/>
      </a:hlink>
      <a:folHlink>
        <a:srgbClr val="0078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2B3CD710-42E8-4C87-8CE7-91C2F9C40EFD}" vid="{EC394B6E-35AA-4089-A6C5-2D80F302ABE4}"/>
    </a:ext>
  </a:extLst>
</a:theme>
</file>

<file path=ppt/theme/theme3.xml><?xml version="1.0" encoding="utf-8"?>
<a:theme xmlns:a="http://schemas.openxmlformats.org/drawingml/2006/main" name="164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A5B2DBA5FA8E348991706BF817255F9" ma:contentTypeVersion="0" ma:contentTypeDescription="Opprett et nytt dokument." ma:contentTypeScope="" ma:versionID="2cab62c2c6a244a4e4c0e77f5adccc4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e2500873ed525c1cf306a41cba81ed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4C33248-F366-44D3-8093-51F8B233603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47C5BB8-7027-40FE-8200-D21A616945B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C2BF654-5C84-432C-B6EB-4EACF94913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3</TotalTime>
  <Words>3100</Words>
  <Application>Microsoft Office PowerPoint</Application>
  <PresentationFormat>Widescreen</PresentationFormat>
  <Paragraphs>453</Paragraphs>
  <Slides>39</Slides>
  <Notes>28</Notes>
  <HiddenSlides>1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9</vt:i4>
      </vt:variant>
    </vt:vector>
  </HeadingPairs>
  <TitlesOfParts>
    <vt:vector size="48" baseType="lpstr">
      <vt:lpstr>Arial</vt:lpstr>
      <vt:lpstr>Arial Black</vt:lpstr>
      <vt:lpstr>Calibri</vt:lpstr>
      <vt:lpstr>Wingdings</vt:lpstr>
      <vt:lpstr>Wingdings 2</vt:lpstr>
      <vt:lpstr>1_Office-tema</vt:lpstr>
      <vt:lpstr>Mørk bakgrunn (2020.1)</vt:lpstr>
      <vt:lpstr>164_PPTmal_DirektoratetEHelseV2-1</vt:lpstr>
      <vt:lpstr>think-cell Slide</vt:lpstr>
      <vt:lpstr>Teknisk beregningsutvalg for nasjonale e-helseløsninger</vt:lpstr>
      <vt:lpstr>Agenda</vt:lpstr>
      <vt:lpstr>PowerPoint-presentasjon</vt:lpstr>
      <vt:lpstr>Agenda</vt:lpstr>
      <vt:lpstr>Et overblikk over TBU-arbeidet i høst – og frem mot 2022</vt:lpstr>
      <vt:lpstr>Noen viktige budskap - rekapitulering</vt:lpstr>
      <vt:lpstr>Agenda</vt:lpstr>
      <vt:lpstr>Tallgrunnlag</vt:lpstr>
      <vt:lpstr>Hva presenterer nhn i dag?</vt:lpstr>
      <vt:lpstr>Budsjett og prognose 2020</vt:lpstr>
      <vt:lpstr>Prognose 2020 - De nasjonale løsningene</vt:lpstr>
      <vt:lpstr>Budsjett 2021 – de nasjonale løsningene</vt:lpstr>
      <vt:lpstr>Grunndata 2021</vt:lpstr>
      <vt:lpstr>Kjernejournal 2021</vt:lpstr>
      <vt:lpstr>E-resept 2021</vt:lpstr>
      <vt:lpstr>HElsenorge 2021</vt:lpstr>
      <vt:lpstr>Helseid 2021</vt:lpstr>
      <vt:lpstr>Nasjonale e-helseløsninger 2021</vt:lpstr>
      <vt:lpstr>HELSENETTET</vt:lpstr>
      <vt:lpstr>Agenda</vt:lpstr>
      <vt:lpstr>Fra mandatet</vt:lpstr>
      <vt:lpstr>Fremgangsmåte</vt:lpstr>
      <vt:lpstr>Dagens fordeling: 56/44 mellom RHF/kommuner</vt:lpstr>
      <vt:lpstr>Mulighetsrommet knyttet til bruk av løsningen</vt:lpstr>
      <vt:lpstr>Andre aktuelle fordelingsnøkler </vt:lpstr>
      <vt:lpstr>Vurderingskriterier</vt:lpstr>
      <vt:lpstr>Fra TBUs vurderinger i vår</vt:lpstr>
      <vt:lpstr>Direktoratets/arbeidsgruppens anbefaling</vt:lpstr>
      <vt:lpstr>Rangert som nr. 1: Fordeling B, Teknisk klart fra NHN</vt:lpstr>
      <vt:lpstr>Rangert som nr. 2: Fordeling C, Organisatorisk klart til bruk</vt:lpstr>
      <vt:lpstr>B versus C</vt:lpstr>
      <vt:lpstr>Hvor store summer er det egentlig snakk om?</vt:lpstr>
      <vt:lpstr>Oppsummert; hva er konsekvensene i 2021 gitt B?</vt:lpstr>
      <vt:lpstr>Diskusjon</vt:lpstr>
      <vt:lpstr>Diskusjonspunkter</vt:lpstr>
      <vt:lpstr>Agenda</vt:lpstr>
      <vt:lpstr>Forslag til møte i Teknisk beregningsutvalg 23. september</vt:lpstr>
      <vt:lpstr>Forslag til møtedatoer i Teknisk beregningsutvalg 2021</vt:lpstr>
      <vt:lpstr>Agen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knisk beregningsutvalg for nasjonale e-helseløsninger</dc:title>
  <dc:creator>Jon Helge Andersen</dc:creator>
  <cp:lastModifiedBy>Anne Merete Crosby</cp:lastModifiedBy>
  <cp:revision>5</cp:revision>
  <dcterms:created xsi:type="dcterms:W3CDTF">2020-09-02T18:58:23Z</dcterms:created>
  <dcterms:modified xsi:type="dcterms:W3CDTF">2020-09-06T18:15:36Z</dcterms:modified>
</cp:coreProperties>
</file>